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60" r:id="rId1"/>
  </p:sldMasterIdLst>
  <p:notesMasterIdLst>
    <p:notesMasterId r:id="rId27"/>
  </p:notesMasterIdLst>
  <p:sldIdLst>
    <p:sldId id="395" r:id="rId2"/>
    <p:sldId id="596" r:id="rId3"/>
    <p:sldId id="405" r:id="rId4"/>
    <p:sldId id="1073" r:id="rId5"/>
    <p:sldId id="1100" r:id="rId6"/>
    <p:sldId id="1099" r:id="rId7"/>
    <p:sldId id="1098" r:id="rId8"/>
    <p:sldId id="1092" r:id="rId9"/>
    <p:sldId id="1093" r:id="rId10"/>
    <p:sldId id="1094" r:id="rId11"/>
    <p:sldId id="1095" r:id="rId12"/>
    <p:sldId id="1097" r:id="rId13"/>
    <p:sldId id="1101" r:id="rId14"/>
    <p:sldId id="1102" r:id="rId15"/>
    <p:sldId id="1105" r:id="rId16"/>
    <p:sldId id="1104" r:id="rId17"/>
    <p:sldId id="1106" r:id="rId18"/>
    <p:sldId id="1108" r:id="rId19"/>
    <p:sldId id="1079" r:id="rId20"/>
    <p:sldId id="1085" r:id="rId21"/>
    <p:sldId id="1088" r:id="rId22"/>
    <p:sldId id="1089" r:id="rId23"/>
    <p:sldId id="1090" r:id="rId24"/>
    <p:sldId id="1091" r:id="rId25"/>
    <p:sldId id="258" r:id="rId26"/>
  </p:sldIdLst>
  <p:sldSz cx="9144000" cy="5143500" type="screen16x9"/>
  <p:notesSz cx="6669088" cy="9926638"/>
  <p:defaultTextStyle>
    <a:defPPr>
      <a:defRPr lang="ru-RU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3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0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онстантин А. Журавлев" initials="КАЖ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641215"/>
    <a:srgbClr val="AD3338"/>
    <a:srgbClr val="5B6670"/>
    <a:srgbClr val="5C6670"/>
    <a:srgbClr val="E5ED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730" autoAdjust="0"/>
    <p:restoredTop sz="96287" autoAdjust="0"/>
  </p:normalViewPr>
  <p:slideViewPr>
    <p:cSldViewPr snapToGrid="0" snapToObjects="1">
      <p:cViewPr varScale="1">
        <p:scale>
          <a:sx n="104" d="100"/>
          <a:sy n="104" d="100"/>
        </p:scale>
        <p:origin x="403" y="72"/>
      </p:cViewPr>
      <p:guideLst>
        <p:guide orient="horz" pos="1643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3336" y="96"/>
      </p:cViewPr>
      <p:guideLst>
        <p:guide orient="horz" pos="3126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889938" cy="498056"/>
          </a:xfrm>
          <a:prstGeom prst="rect">
            <a:avLst/>
          </a:prstGeom>
        </p:spPr>
        <p:txBody>
          <a:bodyPr vert="horz" lIns="94821" tIns="47409" rIns="94821" bIns="47409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10" y="1"/>
            <a:ext cx="2889938" cy="498056"/>
          </a:xfrm>
          <a:prstGeom prst="rect">
            <a:avLst/>
          </a:prstGeom>
        </p:spPr>
        <p:txBody>
          <a:bodyPr vert="horz" lIns="94821" tIns="47409" rIns="94821" bIns="47409" rtlCol="0"/>
          <a:lstStyle>
            <a:lvl1pPr algn="r">
              <a:defRPr sz="1300"/>
            </a:lvl1pPr>
          </a:lstStyle>
          <a:p>
            <a:fld id="{45CA2100-355E-3F4E-BF84-66BB93B8742A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21" tIns="47409" rIns="94821" bIns="47409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77197"/>
            <a:ext cx="5335270" cy="3908614"/>
          </a:xfrm>
          <a:prstGeom prst="rect">
            <a:avLst/>
          </a:prstGeom>
        </p:spPr>
        <p:txBody>
          <a:bodyPr vert="horz" lIns="94821" tIns="47409" rIns="94821" bIns="4740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28587"/>
            <a:ext cx="2889938" cy="498055"/>
          </a:xfrm>
          <a:prstGeom prst="rect">
            <a:avLst/>
          </a:prstGeom>
        </p:spPr>
        <p:txBody>
          <a:bodyPr vert="horz" lIns="94821" tIns="47409" rIns="94821" bIns="47409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10" y="9428587"/>
            <a:ext cx="2889938" cy="498055"/>
          </a:xfrm>
          <a:prstGeom prst="rect">
            <a:avLst/>
          </a:prstGeom>
        </p:spPr>
        <p:txBody>
          <a:bodyPr vert="horz" lIns="94821" tIns="47409" rIns="94821" bIns="47409" rtlCol="0" anchor="b"/>
          <a:lstStyle>
            <a:lvl1pPr algn="r">
              <a:defRPr sz="1300"/>
            </a:lvl1pPr>
          </a:lstStyle>
          <a:p>
            <a:fld id="{B83A492D-19D0-E041-9E9C-114141FFB5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3843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610952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44730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302997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94795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89971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670253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0299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73862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14322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45651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397317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330007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3818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68173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Shape 105"/>
          <p:cNvSpPr>
            <a:spLocks noGrp="1" noRot="1" noChangeAspect="1"/>
          </p:cNvSpPr>
          <p:nvPr>
            <p:ph type="sldImg" idx="2"/>
          </p:nvPr>
        </p:nvSpPr>
        <p:spPr>
          <a:xfrm>
            <a:off x="30163" y="746125"/>
            <a:ext cx="662305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68419" y="4721899"/>
            <a:ext cx="5347330" cy="4473373"/>
          </a:xfrm>
          <a:prstGeom prst="rect">
            <a:avLst/>
          </a:prstGeom>
        </p:spPr>
        <p:txBody>
          <a:bodyPr spcFirstLastPara="1" wrap="square" lIns="90823" tIns="90823" rIns="90823" bIns="90823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3212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886" y="1175656"/>
            <a:ext cx="4604657" cy="1456815"/>
          </a:xfrm>
        </p:spPr>
        <p:txBody>
          <a:bodyPr anchor="t" anchorCtr="0">
            <a:normAutofit/>
          </a:bodyPr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350214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7FADAA7-4266-44CE-985F-C1A976705D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4" y="1"/>
            <a:ext cx="742950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14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28604" y="4944413"/>
            <a:ext cx="2201764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BA05C47C-83C8-4B9C-8DDC-3919D9427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86" y="102496"/>
            <a:ext cx="8323964" cy="25778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030" y="770287"/>
            <a:ext cx="1273263" cy="4953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ED8276E-4350-4C84-851E-CD94BF625B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7843" y="146312"/>
            <a:ext cx="1354142" cy="526762"/>
          </a:xfrm>
          <a:prstGeom prst="rect">
            <a:avLst/>
          </a:prstGeom>
        </p:spPr>
      </p:pic>
      <p:sp>
        <p:nvSpPr>
          <p:cNvPr id="9" name="Номер слайда 9">
            <a:extLst>
              <a:ext uri="{FF2B5EF4-FFF2-40B4-BE49-F238E27FC236}">
                <a16:creationId xmlns:a16="http://schemas.microsoft.com/office/drawing/2014/main" id="{423CAD11-0904-4F05-8F36-65EC6789501A}"/>
              </a:ext>
            </a:extLst>
          </p:cNvPr>
          <p:cNvSpPr txBox="1">
            <a:spLocks/>
          </p:cNvSpPr>
          <p:nvPr userDrawn="1"/>
        </p:nvSpPr>
        <p:spPr>
          <a:xfrm>
            <a:off x="6438644" y="4928169"/>
            <a:ext cx="2462766" cy="17860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17927FC-DC27-384B-8A27-621D630610CE}" type="slidenum">
              <a:rPr lang="ru-RU" smtClean="0">
                <a:solidFill>
                  <a:schemeClr val="accent2">
                    <a:lumMod val="50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pPr/>
              <a:t>‹#›</a:t>
            </a:fld>
            <a:endParaRPr lang="ru-RU" dirty="0">
              <a:solidFill>
                <a:schemeClr val="accent2">
                  <a:lumMod val="50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112474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886" y="1175656"/>
            <a:ext cx="4604657" cy="1456815"/>
          </a:xfrm>
        </p:spPr>
        <p:txBody>
          <a:bodyPr anchor="t" anchorCtr="0">
            <a:normAutofit/>
          </a:bodyPr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350214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0844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3A9ED-CB76-854A-A85C-56F87D493115}" type="datetime1">
              <a:rPr lang="ru-RU" smtClean="0"/>
              <a:t>14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927FC-DC27-384B-8A27-621D630610CE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1FE326-5F87-9C44-AA76-B5F6651C4C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660" y="285750"/>
            <a:ext cx="253559" cy="2921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8C742A7-AF3E-A345-9302-D80663B072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386" y="616149"/>
            <a:ext cx="8323964" cy="3388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aseline="0"/>
            </a:lvl1pPr>
          </a:lstStyle>
          <a:p>
            <a:pPr lvl="0"/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B8AECE7-0F51-A248-BB7A-8A2D600F7F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2088" y="811120"/>
            <a:ext cx="8323262" cy="33496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5803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1386" y="1369219"/>
            <a:ext cx="4323464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4291566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33BF46-F4BE-9849-A41E-7A6FE9733A2F}" type="datetime1">
              <a:rPr lang="ru-RU" smtClean="0"/>
              <a:t>14.10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927FC-DC27-384B-8A27-621D630610CE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1822C2-7B15-4747-B371-C3306F99CB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660" y="285750"/>
            <a:ext cx="253559" cy="292100"/>
          </a:xfrm>
          <a:prstGeom prst="rect">
            <a:avLst/>
          </a:prstGeom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EE04375-4FD8-F44C-B664-C13EC4E51C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386" y="616148"/>
            <a:ext cx="8323964" cy="6030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aseline="0"/>
            </a:lvl1pPr>
          </a:lstStyle>
          <a:p>
            <a:pPr lvl="0"/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961DDD43-E3FB-BC4C-94CB-AD149343C05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2088" y="811120"/>
            <a:ext cx="8323262" cy="33496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3698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86" y="273844"/>
            <a:ext cx="8325155" cy="2673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1386" y="1260872"/>
            <a:ext cx="4306796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1386" y="1878806"/>
            <a:ext cx="4306796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4291566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4291566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F4A56-07AF-AC45-A20C-497B7ED81332}" type="datetime1">
              <a:rPr lang="ru-RU" smtClean="0"/>
              <a:t>14.10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927FC-DC27-384B-8A27-621D630610CE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7D7683E-CF89-A147-9FCD-F0DA6A8943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660" y="285750"/>
            <a:ext cx="253559" cy="2921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6595EA5-2D69-AD4D-8289-EF1BE9AB12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386" y="616148"/>
            <a:ext cx="8323964" cy="6030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aseline="0"/>
            </a:lvl1pPr>
          </a:lstStyle>
          <a:p>
            <a:pPr lvl="0"/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7C95358B-DCEB-FC49-9C7E-73CCDC8147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2088" y="811120"/>
            <a:ext cx="8323262" cy="33496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40002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2ABC2-A5A6-0E44-9CF5-4F3355AF3475}" type="datetime1">
              <a:rPr lang="ru-RU" smtClean="0"/>
              <a:t>14.10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7927FC-DC27-384B-8A27-621D630610CE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D25AF5-B291-BB4B-8C0C-FD1CF751D8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1660" y="285750"/>
            <a:ext cx="253559" cy="292100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3755461-317B-EE48-826C-439332045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386" y="616148"/>
            <a:ext cx="8323964" cy="6030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aseline="0"/>
            </a:lvl1pPr>
          </a:lstStyle>
          <a:p>
            <a:pPr lvl="0"/>
            <a:r>
              <a:rPr lang="en-US" dirty="0"/>
              <a:t>Click to edit Master subtitle style</a:t>
            </a:r>
            <a:endParaRPr lang="ru-RU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0E97375B-4D4F-C748-8896-04081E28E4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2088" y="811120"/>
            <a:ext cx="8323262" cy="33496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57003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" y="3984"/>
            <a:ext cx="9144000" cy="46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564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userDrawn="1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8"/>
          <p:cNvSpPr txBox="1">
            <a:spLocks noGrp="1"/>
          </p:cNvSpPr>
          <p:nvPr>
            <p:ph type="sldNum" idx="12"/>
          </p:nvPr>
        </p:nvSpPr>
        <p:spPr>
          <a:xfrm>
            <a:off x="8686803" y="4902205"/>
            <a:ext cx="419851" cy="24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36000" anchor="b" anchorCtr="0">
            <a:noAutofit/>
          </a:bodyPr>
          <a:lstStyle>
            <a:lvl1pPr lvl="0" algn="r">
              <a:buNone/>
              <a:defRPr sz="812">
                <a:solidFill>
                  <a:schemeClr val="dk2"/>
                </a:solidFill>
              </a:defRPr>
            </a:lvl1pPr>
            <a:lvl2pPr lvl="1" algn="r">
              <a:buNone/>
              <a:defRPr sz="812">
                <a:solidFill>
                  <a:schemeClr val="dk2"/>
                </a:solidFill>
              </a:defRPr>
            </a:lvl2pPr>
            <a:lvl3pPr lvl="2" algn="r">
              <a:buNone/>
              <a:defRPr sz="812">
                <a:solidFill>
                  <a:schemeClr val="dk2"/>
                </a:solidFill>
              </a:defRPr>
            </a:lvl3pPr>
            <a:lvl4pPr lvl="3" algn="r">
              <a:buNone/>
              <a:defRPr sz="812">
                <a:solidFill>
                  <a:schemeClr val="dk2"/>
                </a:solidFill>
              </a:defRPr>
            </a:lvl4pPr>
            <a:lvl5pPr lvl="4" algn="r">
              <a:buNone/>
              <a:defRPr sz="812">
                <a:solidFill>
                  <a:schemeClr val="dk2"/>
                </a:solidFill>
              </a:defRPr>
            </a:lvl5pPr>
            <a:lvl6pPr lvl="5" algn="r">
              <a:buNone/>
              <a:defRPr sz="812">
                <a:solidFill>
                  <a:schemeClr val="dk2"/>
                </a:solidFill>
              </a:defRPr>
            </a:lvl6pPr>
            <a:lvl7pPr lvl="6" algn="r">
              <a:buNone/>
              <a:defRPr sz="812">
                <a:solidFill>
                  <a:schemeClr val="dk2"/>
                </a:solidFill>
              </a:defRPr>
            </a:lvl7pPr>
            <a:lvl8pPr lvl="7" algn="r">
              <a:buNone/>
              <a:defRPr sz="812">
                <a:solidFill>
                  <a:schemeClr val="dk2"/>
                </a:solidFill>
              </a:defRPr>
            </a:lvl8pPr>
            <a:lvl9pPr lvl="8" algn="r">
              <a:buNone/>
              <a:defRPr sz="812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03471" y="141058"/>
            <a:ext cx="1265746" cy="502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416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" y="-2891"/>
            <a:ext cx="9144000" cy="463296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57179" y="4807487"/>
            <a:ext cx="220176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/>
          <p:cNvGrpSpPr>
            <a:grpSpLocks noChangeAspect="1"/>
          </p:cNvGrpSpPr>
          <p:nvPr userDrawn="1"/>
        </p:nvGrpSpPr>
        <p:grpSpPr>
          <a:xfrm>
            <a:off x="6912794" y="42857"/>
            <a:ext cx="643902" cy="396000"/>
            <a:chOff x="318655" y="1055914"/>
            <a:chExt cx="1621739" cy="1051376"/>
          </a:xfrm>
        </p:grpSpPr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843" y="1055914"/>
              <a:ext cx="610333" cy="590005"/>
            </a:xfrm>
            <a:prstGeom prst="rect">
              <a:avLst/>
            </a:prstGeom>
          </p:spPr>
        </p:pic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8655" y="1644471"/>
              <a:ext cx="1621739" cy="462819"/>
            </a:xfrm>
            <a:prstGeom prst="rect">
              <a:avLst/>
            </a:prstGeom>
          </p:spPr>
        </p:pic>
      </p:grpSp>
      <p:sp>
        <p:nvSpPr>
          <p:cNvPr id="5" name="Дата 4">
            <a:extLst>
              <a:ext uri="{FF2B5EF4-FFF2-40B4-BE49-F238E27FC236}">
                <a16:creationId xmlns:a16="http://schemas.microsoft.com/office/drawing/2014/main" id="{E1646B96-FEAD-4288-85D1-B179EF308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562A1-51B5-46CA-B40A-91B1CDBFC1E2}" type="datetime1">
              <a:rPr lang="ru-RU" smtClean="0"/>
              <a:t>14.10.2022</a:t>
            </a:fld>
            <a:endParaRPr lang="ru-RU" dirty="0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8B4AC303-3287-440E-97AC-DDD1C190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7" name="Номер слайда 16">
            <a:extLst>
              <a:ext uri="{FF2B5EF4-FFF2-40B4-BE49-F238E27FC236}">
                <a16:creationId xmlns:a16="http://schemas.microsoft.com/office/drawing/2014/main" id="{5B35119D-C8E2-47ED-998A-92F401871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96177" y="4866800"/>
            <a:ext cx="2462766" cy="18179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0A00BEC1-43CA-4132-A308-D799BA5DB9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88074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503913" y="161452"/>
            <a:ext cx="8323964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rmAutofit fontScale="70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855"/>
            <a:ext cx="9144000" cy="463296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330239FD-7950-46D4-B984-E5EC62CD952E}"/>
              </a:ext>
            </a:extLst>
          </p:cNvPr>
          <p:cNvCxnSpPr>
            <a:cxnSpLocks/>
          </p:cNvCxnSpPr>
          <p:nvPr userDrawn="1"/>
        </p:nvCxnSpPr>
        <p:spPr>
          <a:xfrm>
            <a:off x="6719977" y="4921553"/>
            <a:ext cx="2210391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9">
            <a:extLst>
              <a:ext uri="{FF2B5EF4-FFF2-40B4-BE49-F238E27FC236}">
                <a16:creationId xmlns:a16="http://schemas.microsoft.com/office/drawing/2014/main" id="{E2114BCA-EE16-4621-A008-A6FAF6667A78}"/>
              </a:ext>
            </a:extLst>
          </p:cNvPr>
          <p:cNvSpPr txBox="1">
            <a:spLocks/>
          </p:cNvSpPr>
          <p:nvPr userDrawn="1"/>
        </p:nvSpPr>
        <p:spPr>
          <a:xfrm>
            <a:off x="6438644" y="4928169"/>
            <a:ext cx="2462766" cy="17860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17927FC-DC27-384B-8A27-621D630610CE}" type="slidenum">
              <a:rPr lang="ru-RU" smtClean="0">
                <a:solidFill>
                  <a:schemeClr val="accent6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pPr/>
              <a:t>‹#›</a:t>
            </a:fld>
            <a:endParaRPr lang="ru-RU" dirty="0">
              <a:solidFill>
                <a:schemeClr val="accent6"/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D39A98C-1C59-42EF-AF40-F3E2A3FB0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225" y="123081"/>
            <a:ext cx="8323964" cy="25778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6912794" y="42857"/>
            <a:ext cx="643902" cy="396000"/>
            <a:chOff x="318655" y="1055914"/>
            <a:chExt cx="1621739" cy="1051376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843" y="1055914"/>
              <a:ext cx="610333" cy="590005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8655" y="1644471"/>
              <a:ext cx="1621739" cy="4628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310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634C121-98DD-DC4E-ACBB-E8E88E8FBC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886" y="1175656"/>
            <a:ext cx="4604657" cy="1456815"/>
          </a:xfrm>
        </p:spPr>
        <p:txBody>
          <a:bodyPr anchor="t" anchorCtr="0">
            <a:normAutofit/>
          </a:bodyPr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350214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112678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" y="-2891"/>
            <a:ext cx="9144000" cy="463296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57179" y="4807487"/>
            <a:ext cx="220176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/>
          <p:cNvGrpSpPr>
            <a:grpSpLocks noChangeAspect="1"/>
          </p:cNvGrpSpPr>
          <p:nvPr userDrawn="1"/>
        </p:nvGrpSpPr>
        <p:grpSpPr>
          <a:xfrm>
            <a:off x="6912794" y="42857"/>
            <a:ext cx="643902" cy="396000"/>
            <a:chOff x="318655" y="1055914"/>
            <a:chExt cx="1621739" cy="1051376"/>
          </a:xfrm>
        </p:grpSpPr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843" y="1055914"/>
              <a:ext cx="610333" cy="590005"/>
            </a:xfrm>
            <a:prstGeom prst="rect">
              <a:avLst/>
            </a:prstGeom>
          </p:spPr>
        </p:pic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8655" y="1644471"/>
              <a:ext cx="1621739" cy="462819"/>
            </a:xfrm>
            <a:prstGeom prst="rect">
              <a:avLst/>
            </a:prstGeom>
          </p:spPr>
        </p:pic>
      </p:grpSp>
      <p:sp>
        <p:nvSpPr>
          <p:cNvPr id="5" name="Дата 4">
            <a:extLst>
              <a:ext uri="{FF2B5EF4-FFF2-40B4-BE49-F238E27FC236}">
                <a16:creationId xmlns:a16="http://schemas.microsoft.com/office/drawing/2014/main" id="{E1646B96-FEAD-4288-85D1-B179EF308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562A1-51B5-46CA-B40A-91B1CDBFC1E2}" type="datetime1">
              <a:rPr lang="ru-RU" smtClean="0"/>
              <a:t>14.10.2022</a:t>
            </a:fld>
            <a:endParaRPr lang="ru-RU" dirty="0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8B4AC303-3287-440E-97AC-DDD1C190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7" name="Номер слайда 16">
            <a:extLst>
              <a:ext uri="{FF2B5EF4-FFF2-40B4-BE49-F238E27FC236}">
                <a16:creationId xmlns:a16="http://schemas.microsoft.com/office/drawing/2014/main" id="{5B35119D-C8E2-47ED-998A-92F401871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96177" y="4866800"/>
            <a:ext cx="2462766" cy="18179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0A00BEC1-43CA-4132-A308-D799BA5DB9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48203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" y="-2891"/>
            <a:ext cx="9144000" cy="463296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57179" y="4807487"/>
            <a:ext cx="220176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/>
          <p:cNvGrpSpPr>
            <a:grpSpLocks noChangeAspect="1"/>
          </p:cNvGrpSpPr>
          <p:nvPr userDrawn="1"/>
        </p:nvGrpSpPr>
        <p:grpSpPr>
          <a:xfrm>
            <a:off x="6912794" y="42857"/>
            <a:ext cx="643902" cy="396000"/>
            <a:chOff x="318655" y="1055914"/>
            <a:chExt cx="1621739" cy="1051376"/>
          </a:xfrm>
        </p:grpSpPr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1843" y="1055914"/>
              <a:ext cx="610333" cy="590005"/>
            </a:xfrm>
            <a:prstGeom prst="rect">
              <a:avLst/>
            </a:prstGeom>
          </p:spPr>
        </p:pic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0A5D9CDA-85BB-46BE-B280-B0639F63B3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8655" y="1644471"/>
              <a:ext cx="1621739" cy="462819"/>
            </a:xfrm>
            <a:prstGeom prst="rect">
              <a:avLst/>
            </a:prstGeom>
          </p:spPr>
        </p:pic>
      </p:grpSp>
      <p:sp>
        <p:nvSpPr>
          <p:cNvPr id="5" name="Дата 4">
            <a:extLst>
              <a:ext uri="{FF2B5EF4-FFF2-40B4-BE49-F238E27FC236}">
                <a16:creationId xmlns:a16="http://schemas.microsoft.com/office/drawing/2014/main" id="{E1646B96-FEAD-4288-85D1-B179EF308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0562A1-51B5-46CA-B40A-91B1CDBFC1E2}" type="datetime1">
              <a:rPr lang="ru-RU" smtClean="0"/>
              <a:t>14.10.2022</a:t>
            </a:fld>
            <a:endParaRPr lang="ru-RU" dirty="0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8B4AC303-3287-440E-97AC-DDD1C190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7" name="Номер слайда 16">
            <a:extLst>
              <a:ext uri="{FF2B5EF4-FFF2-40B4-BE49-F238E27FC236}">
                <a16:creationId xmlns:a16="http://schemas.microsoft.com/office/drawing/2014/main" id="{5B35119D-C8E2-47ED-998A-92F401871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96177" y="4866800"/>
            <a:ext cx="2462766" cy="181795"/>
          </a:xfrm>
        </p:spPr>
        <p:txBody>
          <a:bodyPr/>
          <a:lstStyle>
            <a:lvl1pPr>
              <a:defRPr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0A00BEC1-43CA-4132-A308-D799BA5DB9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4820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886" y="1175656"/>
            <a:ext cx="4604657" cy="1456815"/>
          </a:xfrm>
        </p:spPr>
        <p:txBody>
          <a:bodyPr anchor="t" anchorCtr="0">
            <a:normAutofit/>
          </a:bodyPr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503913" y="161452"/>
            <a:ext cx="8323964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rmAutofit fontScale="70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855"/>
            <a:ext cx="9144000" cy="463296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330239FD-7950-46D4-B984-E5EC62CD952E}"/>
              </a:ext>
            </a:extLst>
          </p:cNvPr>
          <p:cNvCxnSpPr>
            <a:cxnSpLocks/>
          </p:cNvCxnSpPr>
          <p:nvPr userDrawn="1"/>
        </p:nvCxnSpPr>
        <p:spPr>
          <a:xfrm>
            <a:off x="6719977" y="4921553"/>
            <a:ext cx="2210391" cy="0"/>
          </a:xfrm>
          <a:prstGeom prst="line">
            <a:avLst/>
          </a:prstGeom>
          <a:ln w="19050">
            <a:solidFill>
              <a:srgbClr val="5C66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Дата 4">
            <a:extLst>
              <a:ext uri="{FF2B5EF4-FFF2-40B4-BE49-F238E27FC236}">
                <a16:creationId xmlns:a16="http://schemas.microsoft.com/office/drawing/2014/main" id="{B57598D7-D940-4095-8850-397A3486C3F9}"/>
              </a:ext>
            </a:extLst>
          </p:cNvPr>
          <p:cNvSpPr txBox="1">
            <a:spLocks/>
          </p:cNvSpPr>
          <p:nvPr userDrawn="1"/>
        </p:nvSpPr>
        <p:spPr>
          <a:xfrm>
            <a:off x="242590" y="4830359"/>
            <a:ext cx="2494664" cy="22623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l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2021</a:t>
            </a:r>
          </a:p>
        </p:txBody>
      </p:sp>
      <p:sp>
        <p:nvSpPr>
          <p:cNvPr id="12" name="Номер слайда 9">
            <a:extLst>
              <a:ext uri="{FF2B5EF4-FFF2-40B4-BE49-F238E27FC236}">
                <a16:creationId xmlns:a16="http://schemas.microsoft.com/office/drawing/2014/main" id="{E2114BCA-EE16-4621-A008-A6FAF6667A78}"/>
              </a:ext>
            </a:extLst>
          </p:cNvPr>
          <p:cNvSpPr txBox="1">
            <a:spLocks/>
          </p:cNvSpPr>
          <p:nvPr userDrawn="1"/>
        </p:nvSpPr>
        <p:spPr>
          <a:xfrm>
            <a:off x="6438644" y="4928169"/>
            <a:ext cx="2462766" cy="17860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17927FC-DC27-384B-8A27-621D630610CE}" type="slidenum">
              <a:rPr lang="ru-RU" smtClean="0">
                <a:solidFill>
                  <a:schemeClr val="accent2">
                    <a:lumMod val="50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pPr/>
              <a:t>‹#›</a:t>
            </a:fld>
            <a:endParaRPr lang="ru-RU" dirty="0">
              <a:solidFill>
                <a:schemeClr val="accent2">
                  <a:lumMod val="50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2855" y="24277"/>
            <a:ext cx="967172" cy="413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050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2886" y="1175656"/>
            <a:ext cx="4604657" cy="1456815"/>
          </a:xfrm>
        </p:spPr>
        <p:txBody>
          <a:bodyPr anchor="t" anchorCtr="0">
            <a:normAutofit/>
          </a:bodyPr>
          <a:lstStyle>
            <a:lvl1pPr algn="l"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503913" y="161452"/>
            <a:ext cx="8323964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rmAutofit fontScale="70000" lnSpcReduction="2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855"/>
            <a:ext cx="9144000" cy="463296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330239FD-7950-46D4-B984-E5EC62CD952E}"/>
              </a:ext>
            </a:extLst>
          </p:cNvPr>
          <p:cNvCxnSpPr>
            <a:cxnSpLocks/>
          </p:cNvCxnSpPr>
          <p:nvPr userDrawn="1"/>
        </p:nvCxnSpPr>
        <p:spPr>
          <a:xfrm>
            <a:off x="6719977" y="4921553"/>
            <a:ext cx="2210391" cy="0"/>
          </a:xfrm>
          <a:prstGeom prst="line">
            <a:avLst/>
          </a:prstGeom>
          <a:ln w="19050">
            <a:solidFill>
              <a:srgbClr val="AD33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9">
            <a:extLst>
              <a:ext uri="{FF2B5EF4-FFF2-40B4-BE49-F238E27FC236}">
                <a16:creationId xmlns:a16="http://schemas.microsoft.com/office/drawing/2014/main" id="{6D484907-36E5-4307-805C-606B3E916923}"/>
              </a:ext>
            </a:extLst>
          </p:cNvPr>
          <p:cNvSpPr txBox="1">
            <a:spLocks/>
          </p:cNvSpPr>
          <p:nvPr userDrawn="1"/>
        </p:nvSpPr>
        <p:spPr>
          <a:xfrm>
            <a:off x="6438644" y="4928169"/>
            <a:ext cx="2462766" cy="17860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17927FC-DC27-384B-8A27-621D630610CE}" type="slidenum">
              <a:rPr lang="ru-RU" smtClean="0">
                <a:solidFill>
                  <a:schemeClr val="accent2">
                    <a:lumMod val="50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pPr/>
              <a:t>‹#›</a:t>
            </a:fld>
            <a:endParaRPr lang="ru-RU" dirty="0">
              <a:solidFill>
                <a:schemeClr val="accent2">
                  <a:lumMod val="50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94257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8795CB5-6E9F-421B-84FF-7C5E3FB1C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0919" y="4906313"/>
            <a:ext cx="2462766" cy="178606"/>
          </a:xfrm>
        </p:spPr>
        <p:txBody>
          <a:bodyPr/>
          <a:lstStyle>
            <a:lvl1pPr>
              <a:defRPr sz="1000"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fld id="{917927FC-DC27-384B-8A27-621D630610C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" y="-2891"/>
            <a:ext cx="9144000" cy="463296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28604" y="4906313"/>
            <a:ext cx="2201764" cy="0"/>
          </a:xfrm>
          <a:prstGeom prst="line">
            <a:avLst/>
          </a:prstGeom>
          <a:ln w="19050">
            <a:solidFill>
              <a:srgbClr val="5C66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BA05C47C-83C8-4B9C-8DDC-3919D9427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86" y="102496"/>
            <a:ext cx="8323964" cy="25778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DB131C6-ABDC-4813-9059-3839378BEB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7832" y="8756"/>
            <a:ext cx="718356" cy="442307"/>
          </a:xfrm>
          <a:prstGeom prst="rect">
            <a:avLst/>
          </a:prstGeom>
        </p:spPr>
      </p:pic>
      <p:sp>
        <p:nvSpPr>
          <p:cNvPr id="14" name="Дата 4">
            <a:extLst>
              <a:ext uri="{FF2B5EF4-FFF2-40B4-BE49-F238E27FC236}">
                <a16:creationId xmlns:a16="http://schemas.microsoft.com/office/drawing/2014/main" id="{CC6CC51C-EEE3-4269-981F-285462F65972}"/>
              </a:ext>
            </a:extLst>
          </p:cNvPr>
          <p:cNvSpPr txBox="1">
            <a:spLocks/>
          </p:cNvSpPr>
          <p:nvPr userDrawn="1"/>
        </p:nvSpPr>
        <p:spPr>
          <a:xfrm>
            <a:off x="242590" y="4830359"/>
            <a:ext cx="2494664" cy="22623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l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682679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8795CB5-6E9F-421B-84FF-7C5E3FB1C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0919" y="4953938"/>
            <a:ext cx="2462766" cy="178606"/>
          </a:xfrm>
        </p:spPr>
        <p:txBody>
          <a:bodyPr/>
          <a:lstStyle>
            <a:lvl1pPr>
              <a:defRPr sz="1000"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fld id="{917927FC-DC27-384B-8A27-621D630610C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7" y="-2891"/>
            <a:ext cx="9144000" cy="463296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28604" y="4944413"/>
            <a:ext cx="2201764" cy="0"/>
          </a:xfrm>
          <a:prstGeom prst="line">
            <a:avLst/>
          </a:prstGeom>
          <a:ln w="19050">
            <a:solidFill>
              <a:srgbClr val="5C66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BA05C47C-83C8-4B9C-8DDC-3919D9427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86" y="102496"/>
            <a:ext cx="8323964" cy="25778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Дата 4">
            <a:extLst>
              <a:ext uri="{FF2B5EF4-FFF2-40B4-BE49-F238E27FC236}">
                <a16:creationId xmlns:a16="http://schemas.microsoft.com/office/drawing/2014/main" id="{EC97F3F7-8A23-42B8-80C6-BA8D1A815ABA}"/>
              </a:ext>
            </a:extLst>
          </p:cNvPr>
          <p:cNvSpPr txBox="1">
            <a:spLocks/>
          </p:cNvSpPr>
          <p:nvPr userDrawn="1"/>
        </p:nvSpPr>
        <p:spPr>
          <a:xfrm>
            <a:off x="242590" y="4830359"/>
            <a:ext cx="2494664" cy="22623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l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641583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8795CB5-6E9F-421B-84FF-7C5E3FB1C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0919" y="4953938"/>
            <a:ext cx="2462766" cy="178606"/>
          </a:xfrm>
        </p:spPr>
        <p:txBody>
          <a:bodyPr/>
          <a:lstStyle>
            <a:lvl1pPr>
              <a:defRPr sz="1000"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fld id="{917927FC-DC27-384B-8A27-621D630610C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F0C6851-D20C-40FC-88AF-3EB1C283A516}"/>
              </a:ext>
            </a:extLst>
          </p:cNvPr>
          <p:cNvSpPr/>
          <p:nvPr userDrawn="1"/>
        </p:nvSpPr>
        <p:spPr>
          <a:xfrm>
            <a:off x="0" y="7564"/>
            <a:ext cx="9144000" cy="44016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302" y="-7146"/>
            <a:ext cx="1273263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28604" y="4944413"/>
            <a:ext cx="2201764" cy="0"/>
          </a:xfrm>
          <a:prstGeom prst="line">
            <a:avLst/>
          </a:prstGeom>
          <a:ln w="19050">
            <a:solidFill>
              <a:srgbClr val="5C66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BA05C47C-83C8-4B9C-8DDC-3919D9427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86" y="102496"/>
            <a:ext cx="8323964" cy="25778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3EA452C-52C4-426B-8C04-9FBE0BEAA1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2620" y="10957"/>
            <a:ext cx="1852636" cy="392472"/>
          </a:xfrm>
          <a:prstGeom prst="rect">
            <a:avLst/>
          </a:prstGeom>
        </p:spPr>
      </p:pic>
      <p:sp>
        <p:nvSpPr>
          <p:cNvPr id="11" name="Дата 4">
            <a:extLst>
              <a:ext uri="{FF2B5EF4-FFF2-40B4-BE49-F238E27FC236}">
                <a16:creationId xmlns:a16="http://schemas.microsoft.com/office/drawing/2014/main" id="{4E8E101D-4296-4D78-B065-D84493A794D7}"/>
              </a:ext>
            </a:extLst>
          </p:cNvPr>
          <p:cNvSpPr txBox="1">
            <a:spLocks/>
          </p:cNvSpPr>
          <p:nvPr userDrawn="1"/>
        </p:nvSpPr>
        <p:spPr>
          <a:xfrm>
            <a:off x="242590" y="4830359"/>
            <a:ext cx="2494664" cy="22623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l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314864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E7B6E75-8897-4956-8633-BF8610E83619}"/>
              </a:ext>
            </a:extLst>
          </p:cNvPr>
          <p:cNvSpPr/>
          <p:nvPr userDrawn="1"/>
        </p:nvSpPr>
        <p:spPr>
          <a:xfrm>
            <a:off x="0" y="7564"/>
            <a:ext cx="9144000" cy="440167"/>
          </a:xfrm>
          <a:prstGeom prst="rect">
            <a:avLst/>
          </a:prstGeom>
          <a:gradFill flip="none" rotWithShape="1">
            <a:gsLst>
              <a:gs pos="0">
                <a:srgbClr val="5C6670">
                  <a:tint val="66000"/>
                  <a:satMod val="160000"/>
                </a:srgbClr>
              </a:gs>
              <a:gs pos="50000">
                <a:srgbClr val="5C6670">
                  <a:tint val="44500"/>
                  <a:satMod val="160000"/>
                </a:srgbClr>
              </a:gs>
              <a:gs pos="100000">
                <a:srgbClr val="5C6670">
                  <a:tint val="23500"/>
                  <a:satMod val="16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77543" y="462441"/>
            <a:ext cx="3581400" cy="705701"/>
          </a:xfrm>
        </p:spPr>
        <p:txBody>
          <a:bodyPr>
            <a:normAutofit/>
          </a:bodyPr>
          <a:lstStyle>
            <a:lvl1pPr marL="0" indent="0" algn="r">
              <a:buNone/>
              <a:defRPr sz="14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28604" y="4944413"/>
            <a:ext cx="2201764" cy="0"/>
          </a:xfrm>
          <a:prstGeom prst="line">
            <a:avLst/>
          </a:prstGeom>
          <a:ln w="19050">
            <a:solidFill>
              <a:srgbClr val="5C66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BA05C47C-83C8-4B9C-8DDC-3919D9427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86" y="102496"/>
            <a:ext cx="8323964" cy="25778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3EA452C-52C4-426B-8C04-9FBE0BEAA1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1554" y="35152"/>
            <a:ext cx="1852636" cy="39247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EF27EFE-0DD3-4474-A414-C3861C2104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9543" y="-40882"/>
            <a:ext cx="1354142" cy="52676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030" y="770287"/>
            <a:ext cx="1273263" cy="495300"/>
          </a:xfrm>
          <a:prstGeom prst="rect">
            <a:avLst/>
          </a:prstGeom>
        </p:spPr>
      </p:pic>
      <p:sp>
        <p:nvSpPr>
          <p:cNvPr id="19" name="Номер слайда 9">
            <a:extLst>
              <a:ext uri="{FF2B5EF4-FFF2-40B4-BE49-F238E27FC236}">
                <a16:creationId xmlns:a16="http://schemas.microsoft.com/office/drawing/2014/main" id="{FAC8335C-AF20-42C7-B9BB-D7FBD6A37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0919" y="4953938"/>
            <a:ext cx="2462766" cy="178606"/>
          </a:xfrm>
        </p:spPr>
        <p:txBody>
          <a:bodyPr/>
          <a:lstStyle>
            <a:lvl1pPr>
              <a:defRPr sz="1000"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fld id="{917927FC-DC27-384B-8A27-621D630610C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Дата 4">
            <a:extLst>
              <a:ext uri="{FF2B5EF4-FFF2-40B4-BE49-F238E27FC236}">
                <a16:creationId xmlns:a16="http://schemas.microsoft.com/office/drawing/2014/main" id="{12FEDED3-3983-4165-AE34-3A9E519E44CC}"/>
              </a:ext>
            </a:extLst>
          </p:cNvPr>
          <p:cNvSpPr txBox="1">
            <a:spLocks/>
          </p:cNvSpPr>
          <p:nvPr userDrawn="1"/>
        </p:nvSpPr>
        <p:spPr>
          <a:xfrm>
            <a:off x="242590" y="4830359"/>
            <a:ext cx="2494664" cy="22623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l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12564726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0F41E33-3BE1-40EF-AD40-D58259852314}"/>
              </a:ext>
            </a:extLst>
          </p:cNvPr>
          <p:cNvSpPr txBox="1">
            <a:spLocks/>
          </p:cNvSpPr>
          <p:nvPr userDrawn="1"/>
        </p:nvSpPr>
        <p:spPr>
          <a:xfrm>
            <a:off x="242590" y="111612"/>
            <a:ext cx="7440959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 sz="2000" b="1" dirty="0">
              <a:solidFill>
                <a:schemeClr val="bg1"/>
              </a:solidFill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AB71341-B65C-49D6-87EB-9886A1F9A6F5}"/>
              </a:ext>
            </a:extLst>
          </p:cNvPr>
          <p:cNvCxnSpPr>
            <a:cxnSpLocks/>
          </p:cNvCxnSpPr>
          <p:nvPr userDrawn="1"/>
        </p:nvCxnSpPr>
        <p:spPr>
          <a:xfrm>
            <a:off x="6728604" y="4944413"/>
            <a:ext cx="2201764" cy="0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id="{BA05C47C-83C8-4B9C-8DDC-3919D9427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86" y="102496"/>
            <a:ext cx="8323964" cy="257784"/>
          </a:xfrm>
        </p:spPr>
        <p:txBody>
          <a:bodyPr>
            <a:noAutofit/>
          </a:bodyPr>
          <a:lstStyle>
            <a:lvl1pPr>
              <a:defRPr sz="1700">
                <a:solidFill>
                  <a:schemeClr val="bg1"/>
                </a:solidFill>
                <a:latin typeface="PT Root UI Bold" panose="020B0603020202020204" pitchFamily="34" charset="-52"/>
                <a:ea typeface="PT Root UI Bold" panose="020B0603020202020204" pitchFamily="34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030" y="770287"/>
            <a:ext cx="1273263" cy="495300"/>
          </a:xfrm>
          <a:prstGeom prst="rect">
            <a:avLst/>
          </a:prstGeom>
        </p:spPr>
      </p:pic>
      <p:sp>
        <p:nvSpPr>
          <p:cNvPr id="13" name="Дата 4">
            <a:extLst>
              <a:ext uri="{FF2B5EF4-FFF2-40B4-BE49-F238E27FC236}">
                <a16:creationId xmlns:a16="http://schemas.microsoft.com/office/drawing/2014/main" id="{F8C70490-A7F6-4114-87AE-D086BC293F16}"/>
              </a:ext>
            </a:extLst>
          </p:cNvPr>
          <p:cNvSpPr txBox="1">
            <a:spLocks/>
          </p:cNvSpPr>
          <p:nvPr userDrawn="1"/>
        </p:nvSpPr>
        <p:spPr>
          <a:xfrm>
            <a:off x="242590" y="4830359"/>
            <a:ext cx="2494664" cy="22623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l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latin typeface="Segoe UI Light" panose="020B0502040204020203" pitchFamily="34" charset="0"/>
                <a:cs typeface="Segoe UI Light" panose="020B0502040204020203" pitchFamily="34" charset="0"/>
              </a:rPr>
              <a:t>2021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0ED8276E-4350-4C84-851E-CD94BF625B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7843" y="146312"/>
            <a:ext cx="1354142" cy="526762"/>
          </a:xfrm>
          <a:prstGeom prst="rect">
            <a:avLst/>
          </a:prstGeom>
        </p:spPr>
      </p:pic>
      <p:sp>
        <p:nvSpPr>
          <p:cNvPr id="15" name="Номер слайда 9">
            <a:extLst>
              <a:ext uri="{FF2B5EF4-FFF2-40B4-BE49-F238E27FC236}">
                <a16:creationId xmlns:a16="http://schemas.microsoft.com/office/drawing/2014/main" id="{70481667-B41E-4CD8-B8CD-17CD83AEBA61}"/>
              </a:ext>
            </a:extLst>
          </p:cNvPr>
          <p:cNvSpPr txBox="1">
            <a:spLocks/>
          </p:cNvSpPr>
          <p:nvPr userDrawn="1"/>
        </p:nvSpPr>
        <p:spPr>
          <a:xfrm>
            <a:off x="6438644" y="4928169"/>
            <a:ext cx="2462766" cy="17860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ru-RU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PT Root UI Light" panose="020B0203020202020204" pitchFamily="34" charset="-52"/>
                <a:ea typeface="PT Root UI Light" panose="020B0203020202020204" pitchFamily="34" charset="-52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17927FC-DC27-384B-8A27-621D630610CE}" type="slidenum">
              <a:rPr lang="ru-RU" smtClean="0">
                <a:solidFill>
                  <a:schemeClr val="accent2">
                    <a:lumMod val="50000"/>
                  </a:schemeClr>
                </a:solidFill>
                <a:latin typeface="PT Root UI Bold" panose="020B0603020202020204" pitchFamily="34" charset="-52"/>
                <a:ea typeface="PT Root UI Bold" panose="020B0603020202020204" pitchFamily="34" charset="-52"/>
              </a:rPr>
              <a:pPr/>
              <a:t>‹#›</a:t>
            </a:fld>
            <a:endParaRPr lang="ru-RU" dirty="0">
              <a:solidFill>
                <a:schemeClr val="accent2">
                  <a:lumMod val="50000"/>
                </a:schemeClr>
              </a:solidFill>
              <a:latin typeface="PT Root UI Bold" panose="020B0603020202020204" pitchFamily="34" charset="-52"/>
              <a:ea typeface="PT Root UI Bold" panose="020B060302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844999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1386" y="273844"/>
            <a:ext cx="8323964" cy="257784"/>
          </a:xfrm>
          <a:prstGeom prst="rect">
            <a:avLst/>
          </a:prstGeom>
        </p:spPr>
        <p:txBody>
          <a:bodyPr vert="horz" lIns="9000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1386" y="1369219"/>
            <a:ext cx="872933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1386" y="4717244"/>
            <a:ext cx="2494664" cy="33135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A966AC6F-E686-5743-B8B5-8B2CE24C01F5}" type="datetime1">
              <a:rPr lang="ru-RU" smtClean="0"/>
              <a:t>14.10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17244"/>
            <a:ext cx="3086100" cy="33135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17244"/>
            <a:ext cx="2462766" cy="33135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17927FC-DC27-384B-8A27-621D630610C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2395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61" r:id="rId2"/>
    <p:sldLayoutId id="2147483685" r:id="rId3"/>
    <p:sldLayoutId id="2147483692" r:id="rId4"/>
    <p:sldLayoutId id="2147483684" r:id="rId5"/>
    <p:sldLayoutId id="2147483691" r:id="rId6"/>
    <p:sldLayoutId id="2147483690" r:id="rId7"/>
    <p:sldLayoutId id="2147483695" r:id="rId8"/>
    <p:sldLayoutId id="2147483696" r:id="rId9"/>
    <p:sldLayoutId id="2147483700" r:id="rId10"/>
    <p:sldLayoutId id="2147483668" r:id="rId11"/>
    <p:sldLayoutId id="2147483662" r:id="rId12"/>
    <p:sldLayoutId id="2147483664" r:id="rId13"/>
    <p:sldLayoutId id="2147483665" r:id="rId14"/>
    <p:sldLayoutId id="2147483666" r:id="rId15"/>
    <p:sldLayoutId id="2147483687" r:id="rId16"/>
    <p:sldLayoutId id="2147483694" r:id="rId17"/>
    <p:sldLayoutId id="2147483701" r:id="rId18"/>
    <p:sldLayoutId id="2147483702" r:id="rId19"/>
    <p:sldLayoutId id="2147483703" r:id="rId20"/>
    <p:sldLayoutId id="2147483704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kern="120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52.jp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53.jp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54.jp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e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openxmlformats.org/officeDocument/2006/relationships/image" Target="../media/image39.png"/><Relationship Id="rId7" Type="http://schemas.openxmlformats.org/officeDocument/2006/relationships/image" Target="../media/image25.jpeg"/><Relationship Id="rId12" Type="http://schemas.openxmlformats.org/officeDocument/2006/relationships/image" Target="../media/image30.emf"/><Relationship Id="rId17" Type="http://schemas.openxmlformats.org/officeDocument/2006/relationships/image" Target="../media/image35.jpeg"/><Relationship Id="rId2" Type="http://schemas.openxmlformats.org/officeDocument/2006/relationships/image" Target="../media/image20.emf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jpeg"/><Relationship Id="rId9" Type="http://schemas.openxmlformats.org/officeDocument/2006/relationships/image" Target="../media/image27.png"/><Relationship Id="rId14" Type="http://schemas.openxmlformats.org/officeDocument/2006/relationships/image" Target="../media/image3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5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57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6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59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6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61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63.jpe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65.jfif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5.png"/><Relationship Id="rId4" Type="http://schemas.openxmlformats.org/officeDocument/2006/relationships/image" Target="../media/image40.wmf"/><Relationship Id="rId9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6" Type="http://schemas.openxmlformats.org/officeDocument/2006/relationships/image" Target="../media/image46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47.jp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48.jp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49.jp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50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51.jp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дзаголовок 3">
            <a:extLst>
              <a:ext uri="{FF2B5EF4-FFF2-40B4-BE49-F238E27FC236}">
                <a16:creationId xmlns:a16="http://schemas.microsoft.com/office/drawing/2014/main" id="{1287378E-BED5-4595-91D8-C6DAFF58A6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34DEB2B8-0D2A-4515-AAC6-4763686B8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7058" y="2168963"/>
            <a:ext cx="4255205" cy="18925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9692" tIns="32611" rIns="130444" bIns="42401"/>
          <a:lstStyle/>
          <a:p>
            <a:pPr algn="ctr" defTabSz="844083">
              <a:buClr>
                <a:srgbClr val="000000"/>
              </a:buClr>
            </a:pPr>
            <a:r>
              <a:rPr lang="ru-RU" sz="1900" kern="0" dirty="0">
                <a:solidFill>
                  <a:srgbClr val="000000"/>
                </a:solidFill>
                <a:latin typeface="Segoe UI Light" panose="020B0502040204020203" pitchFamily="34" charset="0"/>
                <a:ea typeface="PT Root UI Light" panose="020B0203020202020204" pitchFamily="34" charset="-52"/>
                <a:cs typeface="Segoe UI Light" panose="020B0502040204020203" pitchFamily="34" charset="0"/>
                <a:sym typeface="Arial"/>
              </a:rPr>
              <a:t>UZTM-KARTEX - </a:t>
            </a:r>
            <a:r>
              <a:rPr lang="es-ES" sz="1900" kern="0" dirty="0">
                <a:solidFill>
                  <a:srgbClr val="000000"/>
                </a:solidFill>
                <a:latin typeface="Segoe UI Light" panose="020B0502040204020203" pitchFamily="34" charset="0"/>
                <a:ea typeface="PT Root UI Light" panose="020B0203020202020204" pitchFamily="34" charset="-52"/>
                <a:cs typeface="Segoe UI Light" panose="020B0502040204020203" pitchFamily="34" charset="0"/>
                <a:sym typeface="Arial"/>
              </a:rPr>
              <a:t>EQUIPMENT AND SOLUTIONS FOR </a:t>
            </a:r>
            <a:r>
              <a:rPr lang="en-US" sz="1900" kern="0" dirty="0">
                <a:solidFill>
                  <a:srgbClr val="000000"/>
                </a:solidFill>
                <a:latin typeface="Segoe UI Light" panose="020B0502040204020203" pitchFamily="34" charset="0"/>
                <a:ea typeface="PT Root UI Light" panose="020B0203020202020204" pitchFamily="34" charset="-52"/>
                <a:cs typeface="Segoe UI Light" panose="020B0502040204020203" pitchFamily="34" charset="0"/>
                <a:sym typeface="Arial"/>
              </a:rPr>
              <a:t>METALLURGY, MINING INDUSTRY, CONSTRUCTION</a:t>
            </a:r>
          </a:p>
          <a:p>
            <a:pPr algn="ctr" defTabSz="844083">
              <a:buClr>
                <a:srgbClr val="000000"/>
              </a:buClr>
            </a:pPr>
            <a:r>
              <a:rPr lang="en-US" sz="1900" kern="0" dirty="0">
                <a:solidFill>
                  <a:srgbClr val="000000"/>
                </a:solidFill>
                <a:latin typeface="Segoe UI Light" panose="020B0502040204020203" pitchFamily="34" charset="0"/>
                <a:ea typeface="PT Root UI Light" panose="020B0203020202020204" pitchFamily="34" charset="-52"/>
                <a:cs typeface="Segoe UI Light" panose="020B0502040204020203" pitchFamily="34" charset="0"/>
                <a:sym typeface="Arial"/>
              </a:rPr>
              <a:t>AND POWER ENGINEERING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6207760" y="357632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graphicFrame>
        <p:nvGraphicFramePr>
          <p:cNvPr id="9" name="Объект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1140507"/>
              </p:ext>
            </p:extLst>
          </p:nvPr>
        </p:nvGraphicFramePr>
        <p:xfrm>
          <a:off x="6341766" y="3963075"/>
          <a:ext cx="2438400" cy="1028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Точечный рисунок" r:id="rId2" imgW="17495238" imgH="7647619" progId="Paint.Picture">
                  <p:embed/>
                </p:oleObj>
              </mc:Choice>
              <mc:Fallback>
                <p:oleObj name="Точечный рисунок" r:id="rId2" imgW="17495238" imgH="7647619" progId="Paint.Picture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41766" y="3963075"/>
                        <a:ext cx="2438400" cy="1028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8BC57C-9BBD-4FA1-8C18-B6A7FBE47EDA}"/>
              </a:ext>
            </a:extLst>
          </p:cNvPr>
          <p:cNvSpPr/>
          <p:nvPr/>
        </p:nvSpPr>
        <p:spPr>
          <a:xfrm>
            <a:off x="-768016" y="2973409"/>
            <a:ext cx="96253" cy="21762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24948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6" name="object 2">
            <a:extLst>
              <a:ext uri="{FF2B5EF4-FFF2-40B4-BE49-F238E27FC236}">
                <a16:creationId xmlns:a16="http://schemas.microsoft.com/office/drawing/2014/main" id="{98D4819E-7380-434E-AA78-BA6CF38DA0A2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3142" y="549438"/>
            <a:ext cx="6232308" cy="4527991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E54F6EED-28D5-4C1C-919E-CE0A1064CC0D}"/>
              </a:ext>
            </a:extLst>
          </p:cNvPr>
          <p:cNvSpPr txBox="1"/>
          <p:nvPr/>
        </p:nvSpPr>
        <p:spPr>
          <a:xfrm>
            <a:off x="6443933" y="549438"/>
            <a:ext cx="1413782" cy="185042"/>
          </a:xfrm>
          <a:prstGeom prst="rect">
            <a:avLst/>
          </a:prstGeom>
        </p:spPr>
        <p:txBody>
          <a:bodyPr vert="horz" wrap="square" lIns="0" tIns="9071" rIns="0" bIns="0" rtlCol="0">
            <a:spAutoFit/>
          </a:bodyPr>
          <a:lstStyle/>
          <a:p>
            <a:pPr marL="9072">
              <a:spcBef>
                <a:spcPts val="71"/>
              </a:spcBef>
            </a:pP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Bhilai</a:t>
            </a:r>
            <a:r>
              <a:rPr sz="1143" b="1" spc="-2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Steel</a:t>
            </a:r>
            <a:r>
              <a:rPr sz="1143" b="1" spc="-2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Plant,</a:t>
            </a:r>
            <a:r>
              <a:rPr sz="1143" b="1" spc="-2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1964</a:t>
            </a:r>
            <a:endParaRPr sz="1143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0821383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7" name="object 2">
            <a:extLst>
              <a:ext uri="{FF2B5EF4-FFF2-40B4-BE49-F238E27FC236}">
                <a16:creationId xmlns:a16="http://schemas.microsoft.com/office/drawing/2014/main" id="{A9F659F4-9EBE-4587-A9FA-E5AC766C41AF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0101" y="549438"/>
            <a:ext cx="6363832" cy="452799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7303C7-C900-4F7A-8330-04C008B04C63}"/>
              </a:ext>
            </a:extLst>
          </p:cNvPr>
          <p:cNvSpPr txBox="1"/>
          <p:nvPr/>
        </p:nvSpPr>
        <p:spPr>
          <a:xfrm>
            <a:off x="6350923" y="549438"/>
            <a:ext cx="2552007" cy="662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072" marR="24947" indent="191411" algn="r">
              <a:lnSpc>
                <a:spcPts val="943"/>
              </a:lnSpc>
              <a:spcBef>
                <a:spcPts val="836"/>
              </a:spcBef>
            </a:pPr>
            <a:r>
              <a:rPr lang="en-US" sz="1400" b="1" spc="-11" dirty="0">
                <a:solidFill>
                  <a:srgbClr val="9D231F"/>
                </a:solidFill>
                <a:latin typeface="Candara"/>
                <a:cs typeface="Candara"/>
              </a:rPr>
              <a:t>Testing </a:t>
            </a:r>
            <a:r>
              <a:rPr lang="en-US" sz="1400" b="1" dirty="0">
                <a:solidFill>
                  <a:srgbClr val="9D231F"/>
                </a:solidFill>
                <a:latin typeface="Candara"/>
                <a:cs typeface="Candara"/>
              </a:rPr>
              <a:t>of</a:t>
            </a:r>
            <a:r>
              <a:rPr lang="en-US" sz="1400" b="1" spc="-1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en-US" sz="1400" b="1" spc="-4" dirty="0">
                <a:solidFill>
                  <a:srgbClr val="9D231F"/>
                </a:solidFill>
                <a:latin typeface="Candara"/>
                <a:cs typeface="Candara"/>
              </a:rPr>
              <a:t>crane</a:t>
            </a:r>
            <a:r>
              <a:rPr lang="en-US" sz="1400" b="1" spc="-1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en-US" sz="1400" b="1" dirty="0">
                <a:solidFill>
                  <a:srgbClr val="9D231F"/>
                </a:solidFill>
                <a:latin typeface="Candara"/>
                <a:cs typeface="Candara"/>
              </a:rPr>
              <a:t>equipment</a:t>
            </a:r>
            <a:endParaRPr lang="ru-RU" sz="1400" b="1" dirty="0">
              <a:solidFill>
                <a:srgbClr val="9D231F"/>
              </a:solidFill>
              <a:latin typeface="Candara"/>
              <a:cs typeface="Candara"/>
            </a:endParaRPr>
          </a:p>
          <a:p>
            <a:pPr marL="9072" marR="24947" indent="191411" algn="r">
              <a:lnSpc>
                <a:spcPts val="943"/>
              </a:lnSpc>
              <a:spcBef>
                <a:spcPts val="836"/>
              </a:spcBef>
            </a:pPr>
            <a:r>
              <a:rPr lang="en-US" sz="1400" b="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en-US" sz="1400" b="1" spc="-175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en-US" sz="1400" b="1" dirty="0">
                <a:solidFill>
                  <a:srgbClr val="9D231F"/>
                </a:solidFill>
                <a:latin typeface="Candara"/>
                <a:cs typeface="Candara"/>
              </a:rPr>
              <a:t>at</a:t>
            </a:r>
            <a:r>
              <a:rPr lang="en-US" sz="1400" b="1" spc="-18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en-US" sz="1400" b="1" dirty="0" err="1">
                <a:solidFill>
                  <a:srgbClr val="9D231F"/>
                </a:solidFill>
                <a:latin typeface="Candara"/>
                <a:cs typeface="Candara"/>
              </a:rPr>
              <a:t>Kudankulam</a:t>
            </a:r>
            <a:r>
              <a:rPr lang="en-US" sz="1400" b="1" spc="-18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en-US" sz="1400" b="1" spc="-14" dirty="0">
                <a:solidFill>
                  <a:srgbClr val="9D231F"/>
                </a:solidFill>
                <a:latin typeface="Candara"/>
                <a:cs typeface="Candara"/>
              </a:rPr>
              <a:t>NPP, </a:t>
            </a:r>
            <a:r>
              <a:rPr lang="en-US" sz="1400" b="1" dirty="0">
                <a:solidFill>
                  <a:srgbClr val="9D231F"/>
                </a:solidFill>
                <a:latin typeface="Candara"/>
                <a:cs typeface="Candara"/>
              </a:rPr>
              <a:t>India,</a:t>
            </a:r>
            <a:endParaRPr lang="ru-RU" sz="1400" b="1" dirty="0">
              <a:solidFill>
                <a:srgbClr val="9D231F"/>
              </a:solidFill>
              <a:latin typeface="Candara"/>
              <a:cs typeface="Candara"/>
            </a:endParaRPr>
          </a:p>
          <a:p>
            <a:pPr marL="9072" marR="24947" indent="191411" algn="r">
              <a:lnSpc>
                <a:spcPts val="943"/>
              </a:lnSpc>
              <a:spcBef>
                <a:spcPts val="836"/>
              </a:spcBef>
            </a:pPr>
            <a:r>
              <a:rPr lang="en-US" sz="1400" b="1" spc="-18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en-US" sz="1400" b="1" dirty="0">
                <a:solidFill>
                  <a:srgbClr val="9D231F"/>
                </a:solidFill>
                <a:latin typeface="Candara"/>
                <a:cs typeface="Candara"/>
              </a:rPr>
              <a:t>2008</a:t>
            </a:r>
            <a:endParaRPr lang="en-US" sz="1400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2596907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6" name="object 2">
            <a:extLst>
              <a:ext uri="{FF2B5EF4-FFF2-40B4-BE49-F238E27FC236}">
                <a16:creationId xmlns:a16="http://schemas.microsoft.com/office/drawing/2014/main" id="{5C0EF49C-B7DD-4698-BAC8-7BB0419A3D4A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0102" y="549438"/>
            <a:ext cx="6437076" cy="4527992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A55BDE46-3194-4172-891B-4097E2471299}"/>
              </a:ext>
            </a:extLst>
          </p:cNvPr>
          <p:cNvSpPr txBox="1"/>
          <p:nvPr/>
        </p:nvSpPr>
        <p:spPr>
          <a:xfrm>
            <a:off x="6629950" y="617847"/>
            <a:ext cx="2433948" cy="554437"/>
          </a:xfrm>
          <a:prstGeom prst="rect">
            <a:avLst/>
          </a:prstGeom>
        </p:spPr>
        <p:txBody>
          <a:bodyPr vert="horz" wrap="square" lIns="0" tIns="21771" rIns="0" bIns="0" rtlCol="0">
            <a:spAutoFit/>
          </a:bodyPr>
          <a:lstStyle/>
          <a:p>
            <a:pPr marL="193679" marR="3629" indent="-185060" algn="just">
              <a:lnSpc>
                <a:spcPts val="943"/>
              </a:lnSpc>
              <a:spcBef>
                <a:spcPts val="710"/>
              </a:spcBef>
            </a:pP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Erection</a:t>
            </a:r>
            <a:r>
              <a:rPr sz="1050" b="1" spc="-18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of</a:t>
            </a:r>
            <a:r>
              <a:rPr sz="1050" b="1" spc="-1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induration</a:t>
            </a:r>
            <a:r>
              <a:rPr sz="1050" b="1" spc="-1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spc="-4" dirty="0">
                <a:solidFill>
                  <a:srgbClr val="9D231F"/>
                </a:solidFill>
                <a:latin typeface="Candara"/>
                <a:cs typeface="Candara"/>
              </a:rPr>
              <a:t>machine </a:t>
            </a:r>
            <a:r>
              <a:rPr sz="1050" b="1" spc="-179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MOK-108</a:t>
            </a:r>
            <a:endParaRPr lang="ru-RU" sz="1050" b="1" dirty="0">
              <a:solidFill>
                <a:srgbClr val="9D231F"/>
              </a:solidFill>
              <a:latin typeface="Candara"/>
              <a:cs typeface="Candara"/>
            </a:endParaRPr>
          </a:p>
          <a:p>
            <a:pPr marL="193679" marR="3629" indent="-185060" algn="just">
              <a:lnSpc>
                <a:spcPts val="943"/>
              </a:lnSpc>
              <a:spcBef>
                <a:spcPts val="710"/>
              </a:spcBef>
            </a:pP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at the enterprise </a:t>
            </a:r>
            <a:r>
              <a:rPr sz="1050" b="1" spc="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spc="-4" dirty="0">
                <a:solidFill>
                  <a:srgbClr val="9D231F"/>
                </a:solidFill>
                <a:latin typeface="Candara"/>
                <a:cs typeface="Candara"/>
              </a:rPr>
              <a:t>Minera</a:t>
            </a:r>
            <a:r>
              <a:rPr sz="1050" b="1" spc="-1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Steel</a:t>
            </a:r>
            <a:r>
              <a:rPr sz="1050" b="1" spc="-1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&amp;</a:t>
            </a:r>
            <a:r>
              <a:rPr sz="105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50" b="1" spc="-11" dirty="0">
                <a:solidFill>
                  <a:srgbClr val="9D231F"/>
                </a:solidFill>
                <a:latin typeface="Candara"/>
                <a:cs typeface="Candara"/>
              </a:rPr>
              <a:t>Power,</a:t>
            </a:r>
            <a:endParaRPr lang="ru-RU" sz="1050" b="1" spc="-11" dirty="0">
              <a:solidFill>
                <a:srgbClr val="9D231F"/>
              </a:solidFill>
              <a:latin typeface="Candara"/>
              <a:cs typeface="Candara"/>
            </a:endParaRPr>
          </a:p>
          <a:p>
            <a:pPr marL="193679" marR="3629" indent="-185060" algn="just">
              <a:lnSpc>
                <a:spcPts val="943"/>
              </a:lnSpc>
              <a:spcBef>
                <a:spcPts val="710"/>
              </a:spcBef>
            </a:pPr>
            <a:r>
              <a:rPr sz="1050" b="1" dirty="0">
                <a:solidFill>
                  <a:srgbClr val="9D231F"/>
                </a:solidFill>
                <a:latin typeface="Candara"/>
                <a:cs typeface="Candara"/>
              </a:rPr>
              <a:t>2013</a:t>
            </a:r>
            <a:endParaRPr sz="1050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41385100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98377-5952-46A7-8590-02E1C76E64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Picture 3" descr="PA275828">
            <a:extLst>
              <a:ext uri="{FF2B5EF4-FFF2-40B4-BE49-F238E27FC236}">
                <a16:creationId xmlns:a16="http://schemas.microsoft.com/office/drawing/2014/main" id="{0E4384A1-89B3-47D2-8772-8FD9BEC54D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462441"/>
            <a:ext cx="6290582" cy="4681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3DBC4BA5-A53B-4540-882D-1360276D5F7A}"/>
              </a:ext>
            </a:extLst>
          </p:cNvPr>
          <p:cNvSpPr txBox="1"/>
          <p:nvPr/>
        </p:nvSpPr>
        <p:spPr>
          <a:xfrm>
            <a:off x="6629950" y="617847"/>
            <a:ext cx="2433948" cy="259485"/>
          </a:xfrm>
          <a:prstGeom prst="rect">
            <a:avLst/>
          </a:prstGeom>
        </p:spPr>
        <p:txBody>
          <a:bodyPr vert="horz" wrap="square" lIns="0" tIns="21771" rIns="0" bIns="0" rtlCol="0">
            <a:spAutoFit/>
          </a:bodyPr>
          <a:lstStyle/>
          <a:p>
            <a:pPr marL="193679" marR="3629" indent="-185060" algn="just">
              <a:lnSpc>
                <a:spcPts val="943"/>
              </a:lnSpc>
              <a:spcBef>
                <a:spcPts val="710"/>
              </a:spcBef>
            </a:pPr>
            <a:r>
              <a:rPr lang="cs-CZ" sz="1050" b="1" dirty="0">
                <a:solidFill>
                  <a:srgbClr val="9D231F"/>
                </a:solidFill>
                <a:latin typeface="Candara"/>
                <a:cs typeface="Candara"/>
              </a:rPr>
              <a:t>Project </a:t>
            </a:r>
            <a:r>
              <a:rPr lang="ru-RU" sz="1050" b="1" dirty="0">
                <a:solidFill>
                  <a:srgbClr val="9D231F"/>
                </a:solidFill>
                <a:latin typeface="Candara"/>
                <a:cs typeface="Candara"/>
              </a:rPr>
              <a:t>«</a:t>
            </a:r>
            <a:r>
              <a:rPr lang="en-US" sz="1050" b="1" dirty="0">
                <a:solidFill>
                  <a:srgbClr val="9D231F"/>
                </a:solidFill>
                <a:latin typeface="Candara"/>
                <a:cs typeface="Candara"/>
              </a:rPr>
              <a:t>Induration Machine MOK-1-108</a:t>
            </a:r>
            <a:r>
              <a:rPr lang="ru-RU" sz="1050" b="1" dirty="0">
                <a:solidFill>
                  <a:srgbClr val="9D231F"/>
                </a:solidFill>
                <a:latin typeface="Candara"/>
                <a:cs typeface="Candara"/>
              </a:rPr>
              <a:t>»</a:t>
            </a:r>
            <a:br>
              <a:rPr lang="en-US" sz="1050" b="1" dirty="0">
                <a:solidFill>
                  <a:srgbClr val="9D231F"/>
                </a:solidFill>
                <a:latin typeface="Candara"/>
                <a:cs typeface="Candara"/>
              </a:rPr>
            </a:br>
            <a:r>
              <a:rPr lang="en-US" sz="1050" b="1" dirty="0">
                <a:solidFill>
                  <a:srgbClr val="9D231F"/>
                </a:solidFill>
                <a:latin typeface="Candara"/>
                <a:cs typeface="Candara"/>
              </a:rPr>
              <a:t>2014</a:t>
            </a:r>
            <a:endParaRPr lang="en-GB" sz="1050" b="1" dirty="0">
              <a:solidFill>
                <a:srgbClr val="9D231F"/>
              </a:solidFill>
              <a:latin typeface="Candara"/>
              <a:cs typeface="Candara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5084837C-607E-4C71-B310-78996B84F32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03581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DCA6F-ED49-45E9-9B4F-FB3C8390F4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DB52F7-497B-4C22-B4C8-3D0D6471B4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66807" y="462441"/>
            <a:ext cx="2292136" cy="705701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7" name="Picture 6" descr="PA064057">
            <a:extLst>
              <a:ext uri="{FF2B5EF4-FFF2-40B4-BE49-F238E27FC236}">
                <a16:creationId xmlns:a16="http://schemas.microsoft.com/office/drawing/2014/main" id="{12042406-D882-47BC-B551-9CB264D7A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62441"/>
            <a:ext cx="9144000" cy="4272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01348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07904"/>
              </p:ext>
            </p:extLst>
          </p:nvPr>
        </p:nvGraphicFramePr>
        <p:xfrm>
          <a:off x="191382" y="611396"/>
          <a:ext cx="8861177" cy="42481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585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0651">
                  <a:extLst>
                    <a:ext uri="{9D8B030D-6E8A-4147-A177-3AD203B41FA5}">
                      <a16:colId xmlns:a16="http://schemas.microsoft.com/office/drawing/2014/main" val="1590248000"/>
                    </a:ext>
                  </a:extLst>
                </a:gridCol>
                <a:gridCol w="957826">
                  <a:extLst>
                    <a:ext uri="{9D8B030D-6E8A-4147-A177-3AD203B41FA5}">
                      <a16:colId xmlns:a16="http://schemas.microsoft.com/office/drawing/2014/main" val="1915147007"/>
                    </a:ext>
                  </a:extLst>
                </a:gridCol>
                <a:gridCol w="1074173">
                  <a:extLst>
                    <a:ext uri="{9D8B030D-6E8A-4147-A177-3AD203B41FA5}">
                      <a16:colId xmlns:a16="http://schemas.microsoft.com/office/drawing/2014/main" val="511276741"/>
                    </a:ext>
                  </a:extLst>
                </a:gridCol>
              </a:tblGrid>
              <a:tr h="410374"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SINTERING</a:t>
                      </a:r>
                    </a:p>
                  </a:txBody>
                  <a:tcPr marL="1755" marR="175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Year of supply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Number of machines,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process area, m2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111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Various </a:t>
                      </a: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Steel mills in India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958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50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6251587"/>
                  </a:ext>
                </a:extLst>
              </a:tr>
              <a:tr h="30843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Bhilai</a:t>
                      </a: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 Plant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963-1966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50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4867803"/>
                  </a:ext>
                </a:extLst>
              </a:tr>
              <a:tr h="30843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Bokaro Plant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966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312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110277"/>
                  </a:ext>
                </a:extLst>
              </a:tr>
              <a:tr h="30843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Durgaphur</a:t>
                      </a: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 Plant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991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70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033726"/>
                  </a:ext>
                </a:extLst>
              </a:tr>
              <a:tr h="30843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Rourkela Plant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92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508022"/>
                  </a:ext>
                </a:extLst>
              </a:tr>
              <a:tr h="30843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Visakhapatnam Plant (reconstruction)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015-2016</a:t>
                      </a: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312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977311"/>
                  </a:ext>
                </a:extLst>
              </a:tr>
              <a:tr h="30843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Bokaro Plant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018</a:t>
                      </a: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360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4098588"/>
                  </a:ext>
                </a:extLst>
              </a:tr>
              <a:tr h="410374"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INDURATION</a:t>
                      </a:r>
                    </a:p>
                  </a:txBody>
                  <a:tcPr marL="1755" marR="175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Year of supply</a:t>
                      </a:r>
                    </a:p>
                  </a:txBody>
                  <a:tcPr marL="1755" marR="1755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Number of machines,</a:t>
                      </a:r>
                    </a:p>
                  </a:txBody>
                  <a:tcPr marL="1755" marR="1755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process area, m2</a:t>
                      </a:r>
                    </a:p>
                  </a:txBody>
                  <a:tcPr marL="1755" marR="1755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4367"/>
                  </a:ext>
                </a:extLst>
              </a:tr>
              <a:tr h="308434"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Ahluwalia Group, Shri Jagannath &amp; Steels Pvt. Ltd.</a:t>
                      </a:r>
                    </a:p>
                  </a:txBody>
                  <a:tcPr marL="7620" marR="7620" marT="762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013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89</a:t>
                      </a: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8434"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onnet </a:t>
                      </a:r>
                      <a:r>
                        <a:rPr lang="en-GB" sz="11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spat</a:t>
                      </a:r>
                      <a:endParaRPr lang="en-GB" sz="11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7620" marR="7620" marT="762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013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843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inera Steel &amp; Power Pvt. Ltd.</a:t>
                      </a:r>
                    </a:p>
                  </a:txBody>
                  <a:tcPr marL="7620" marR="7620" marT="762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014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08</a:t>
                      </a:r>
                      <a:endParaRPr kumimoji="0" lang="ru-RU" altLang="ru-RU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8434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rest Steel and Power Limited</a:t>
                      </a:r>
                    </a:p>
                  </a:txBody>
                  <a:tcPr marL="7620" marR="7620" marT="762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2014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defRPr sz="2000" b="1">
                          <a:solidFill>
                            <a:srgbClr val="0033CC"/>
                          </a:solidFill>
                          <a:latin typeface="Aria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defRPr sz="30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189</a:t>
                      </a:r>
                    </a:p>
                  </a:txBody>
                  <a:tcPr marL="65317" marR="65317" marT="32648" marB="32648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9C0AB41-03E1-4251-AB4E-277014F49044}"/>
              </a:ext>
            </a:extLst>
          </p:cNvPr>
          <p:cNvSpPr txBox="1"/>
          <p:nvPr/>
        </p:nvSpPr>
        <p:spPr>
          <a:xfrm>
            <a:off x="191383" y="-15362"/>
            <a:ext cx="5131420" cy="535531"/>
          </a:xfrm>
          <a:prstGeom prst="rect">
            <a:avLst/>
          </a:prstGeom>
        </p:spPr>
        <p:txBody>
          <a:bodyPr vert="horz" wrap="square" lIns="90000" tIns="45720" rIns="91440" bIns="45720" rtlCol="0" anchor="ctr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defRPr sz="160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r>
              <a:rPr lang="en-US" altLang="ru-RU" dirty="0"/>
              <a:t>SINTERING AND INDURATION EQUIPMENT SUPPLY -</a:t>
            </a:r>
            <a:r>
              <a:rPr lang="ru-RU" altLang="ru-RU" dirty="0"/>
              <a:t> </a:t>
            </a:r>
            <a:r>
              <a:rPr lang="en-US" altLang="ru-RU" dirty="0"/>
              <a:t>CLIENT CASES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76019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254949"/>
              </p:ext>
            </p:extLst>
          </p:nvPr>
        </p:nvGraphicFramePr>
        <p:xfrm>
          <a:off x="191381" y="611397"/>
          <a:ext cx="8805135" cy="33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3625">
                  <a:extLst>
                    <a:ext uri="{9D8B030D-6E8A-4147-A177-3AD203B41FA5}">
                      <a16:colId xmlns:a16="http://schemas.microsoft.com/office/drawing/2014/main" val="1590248000"/>
                    </a:ext>
                  </a:extLst>
                </a:gridCol>
                <a:gridCol w="1853914">
                  <a:extLst>
                    <a:ext uri="{9D8B030D-6E8A-4147-A177-3AD203B41FA5}">
                      <a16:colId xmlns:a16="http://schemas.microsoft.com/office/drawing/2014/main" val="1915147007"/>
                    </a:ext>
                  </a:extLst>
                </a:gridCol>
                <a:gridCol w="2712720">
                  <a:extLst>
                    <a:ext uri="{9D8B030D-6E8A-4147-A177-3AD203B41FA5}">
                      <a16:colId xmlns:a16="http://schemas.microsoft.com/office/drawing/2014/main" val="3820114645"/>
                    </a:ext>
                  </a:extLst>
                </a:gridCol>
                <a:gridCol w="853440">
                  <a:extLst>
                    <a:ext uri="{9D8B030D-6E8A-4147-A177-3AD203B41FA5}">
                      <a16:colId xmlns:a16="http://schemas.microsoft.com/office/drawing/2014/main" val="1459773377"/>
                    </a:ext>
                  </a:extLst>
                </a:gridCol>
                <a:gridCol w="2641436">
                  <a:extLst>
                    <a:ext uri="{9D8B030D-6E8A-4147-A177-3AD203B41FA5}">
                      <a16:colId xmlns:a16="http://schemas.microsoft.com/office/drawing/2014/main" val="511276741"/>
                    </a:ext>
                  </a:extLst>
                </a:gridCol>
              </a:tblGrid>
              <a:tr h="301170"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Year of supply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endParaRPr lang="en-US" sz="13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Equipment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Number of machines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Technical Characteristic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9C0AB41-03E1-4251-AB4E-277014F49044}"/>
              </a:ext>
            </a:extLst>
          </p:cNvPr>
          <p:cNvSpPr txBox="1"/>
          <p:nvPr/>
        </p:nvSpPr>
        <p:spPr>
          <a:xfrm>
            <a:off x="191383" y="95437"/>
            <a:ext cx="5131420" cy="313932"/>
          </a:xfrm>
          <a:prstGeom prst="rect">
            <a:avLst/>
          </a:prstGeom>
        </p:spPr>
        <p:txBody>
          <a:bodyPr vert="horz" wrap="square" lIns="90000" tIns="45720" rIns="91440" bIns="45720" rtlCol="0" anchor="ctr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defRPr sz="160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r>
              <a:rPr lang="en-US" altLang="ru-RU" dirty="0"/>
              <a:t>BLAST FURNCE EQUIPMENT SUPPLY -</a:t>
            </a:r>
            <a:r>
              <a:rPr lang="ru-RU" altLang="ru-RU" dirty="0"/>
              <a:t> </a:t>
            </a:r>
            <a:r>
              <a:rPr lang="en-US" altLang="ru-RU" dirty="0"/>
              <a:t>CLIENT CASES </a:t>
            </a:r>
            <a:endParaRPr lang="ru-RU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8D1039-152A-4F54-B8B0-9A96B54A93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613567"/>
              </p:ext>
            </p:extLst>
          </p:nvPr>
        </p:nvGraphicFramePr>
        <p:xfrm>
          <a:off x="191381" y="968534"/>
          <a:ext cx="8803957" cy="38150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5879">
                  <a:extLst>
                    <a:ext uri="{9D8B030D-6E8A-4147-A177-3AD203B41FA5}">
                      <a16:colId xmlns:a16="http://schemas.microsoft.com/office/drawing/2014/main" val="2676569775"/>
                    </a:ext>
                  </a:extLst>
                </a:gridCol>
                <a:gridCol w="1850185">
                  <a:extLst>
                    <a:ext uri="{9D8B030D-6E8A-4147-A177-3AD203B41FA5}">
                      <a16:colId xmlns:a16="http://schemas.microsoft.com/office/drawing/2014/main" val="176218250"/>
                    </a:ext>
                  </a:extLst>
                </a:gridCol>
                <a:gridCol w="2737055">
                  <a:extLst>
                    <a:ext uri="{9D8B030D-6E8A-4147-A177-3AD203B41FA5}">
                      <a16:colId xmlns:a16="http://schemas.microsoft.com/office/drawing/2014/main" val="3727305276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1426972541"/>
                    </a:ext>
                  </a:extLst>
                </a:gridCol>
                <a:gridCol w="2647878">
                  <a:extLst>
                    <a:ext uri="{9D8B030D-6E8A-4147-A177-3AD203B41FA5}">
                      <a16:colId xmlns:a16="http://schemas.microsoft.com/office/drawing/2014/main" val="2980578085"/>
                    </a:ext>
                  </a:extLst>
                </a:gridCol>
              </a:tblGrid>
              <a:tr h="160056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6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one balancer KP-3-72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Усилие на штангу большого конуса - 7200 кН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3706349967"/>
                  </a:ext>
                </a:extLst>
              </a:tr>
              <a:tr h="19893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6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ast iron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adle car</a:t>
                      </a:r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G-7-10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Емкость ковша - 100 т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2833411115"/>
                  </a:ext>
                </a:extLst>
              </a:tr>
              <a:tr h="160056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8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kip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hoist</a:t>
                      </a:r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SCh-15-18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удная масса в скипе - 15 т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516661728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8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lag car D-1-15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Объем ковша - 15 м</a:t>
                      </a:r>
                      <a:r>
                        <a:rPr lang="ru-RU" sz="800" u="none" strike="noStrike" baseline="300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1335728856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1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ling apparatus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К-420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Диаметр конуса - 4200 мм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3502130566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2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kip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hoist</a:t>
                      </a:r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-22,5-21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удная масса в скипе - 22,5т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44575276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2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Batch distributor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S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-14-1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Диаметр конуса - 2000 мм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2326662316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6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ast iron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ladle car</a:t>
                      </a:r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G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6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Емкость ковша - 140 т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3502859673"/>
                  </a:ext>
                </a:extLst>
              </a:tr>
              <a:tr h="30060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8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one balancer 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KP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2-105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6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Усилие на штангу большого конуса – 1050 кН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1340791524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8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kip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hois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 S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-15-18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удная масса в скипе – 15 т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3707617485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83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kip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hois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 S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-22,5-21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удная масса в скипе - 22,5 т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3418779859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85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Batch distributor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-17-1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Диаметр конуса - 2000 мм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2813653622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87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ling apparatus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К-420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Диаметр конуса 4200 мм.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637086637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7-1973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lag car 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М1-16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4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Объем ковша – 16 м</a:t>
                      </a:r>
                      <a:r>
                        <a:rPr lang="ru-RU" sz="800" u="none" strike="noStrike" baseline="300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1596791187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5-1982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Filling apparatus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К-500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8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Диаметр конуса - 5000 мм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1080201447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7-1976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kip 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hois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t LS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29-</a:t>
                      </a:r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II</a:t>
                      </a:r>
                      <a:endParaRPr lang="en-GB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удная масса в скипе – 2 т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922154676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3-1981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lag car 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G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1-10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0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Емкость ковша – 100 т</a:t>
                      </a:r>
                      <a:endParaRPr lang="ru-RU" sz="800" b="0" i="0" u="none" strike="noStrike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2275950472"/>
                  </a:ext>
                </a:extLst>
              </a:tr>
              <a:tr h="1710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4-198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Batch distributor</a:t>
                      </a:r>
                      <a:r>
                        <a:rPr lang="cs-CZ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</a:t>
                      </a:r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S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-16-12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Диаметр конуса - 2000 мм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4032395192"/>
                  </a:ext>
                </a:extLst>
              </a:tr>
              <a:tr h="30060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5-1977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ast iron tap hole machine E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7-05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4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Объем рабочего цилиндра - 0,5 м</a:t>
                      </a:r>
                      <a:r>
                        <a:rPr lang="ru-RU" sz="800" u="none" strike="noStrike" baseline="300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3544440567"/>
                  </a:ext>
                </a:extLst>
              </a:tr>
              <a:tr h="30060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80-199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Segoe UI Light" panose="020B0502040204020203" pitchFamily="34" charset="0"/>
                          <a:ea typeface="+mn-ea"/>
                          <a:cs typeface="Segoe UI Light" panose="020B0502040204020203" pitchFamily="34" charset="0"/>
                        </a:rPr>
                        <a:t>Indian Metalurgical Plants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+mn-ea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Cast iron tap hole machine PE</a:t>
                      </a:r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025/130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4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Объем рабочего цилиндра - 0,25 м</a:t>
                      </a:r>
                      <a:r>
                        <a:rPr lang="ru-RU" sz="800" u="none" strike="noStrike" baseline="30000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3</a:t>
                      </a:r>
                      <a:endParaRPr lang="ru-RU" sz="800" b="0" i="0" u="none" strike="noStrike" dirty="0">
                        <a:effectLst/>
                        <a:latin typeface="Segoe UI Light" panose="020B0502040204020203" pitchFamily="34" charset="0"/>
                        <a:cs typeface="Segoe UI Light" panose="020B0502040204020203" pitchFamily="34" charset="0"/>
                      </a:endParaRPr>
                    </a:p>
                  </a:txBody>
                  <a:tcPr marL="6473" marR="6473" marT="6473" marB="0"/>
                </a:tc>
                <a:extLst>
                  <a:ext uri="{0D108BD9-81ED-4DB2-BD59-A6C34878D82A}">
                    <a16:rowId xmlns:a16="http://schemas.microsoft.com/office/drawing/2014/main" val="3578097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5322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3393786"/>
              </p:ext>
            </p:extLst>
          </p:nvPr>
        </p:nvGraphicFramePr>
        <p:xfrm>
          <a:off x="191381" y="611397"/>
          <a:ext cx="8657651" cy="330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44510">
                  <a:extLst>
                    <a:ext uri="{9D8B030D-6E8A-4147-A177-3AD203B41FA5}">
                      <a16:colId xmlns:a16="http://schemas.microsoft.com/office/drawing/2014/main" val="1590248000"/>
                    </a:ext>
                  </a:extLst>
                </a:gridCol>
                <a:gridCol w="2604044">
                  <a:extLst>
                    <a:ext uri="{9D8B030D-6E8A-4147-A177-3AD203B41FA5}">
                      <a16:colId xmlns:a16="http://schemas.microsoft.com/office/drawing/2014/main" val="1915147007"/>
                    </a:ext>
                  </a:extLst>
                </a:gridCol>
                <a:gridCol w="3810339">
                  <a:extLst>
                    <a:ext uri="{9D8B030D-6E8A-4147-A177-3AD203B41FA5}">
                      <a16:colId xmlns:a16="http://schemas.microsoft.com/office/drawing/2014/main" val="3820114645"/>
                    </a:ext>
                  </a:extLst>
                </a:gridCol>
                <a:gridCol w="1198758">
                  <a:extLst>
                    <a:ext uri="{9D8B030D-6E8A-4147-A177-3AD203B41FA5}">
                      <a16:colId xmlns:a16="http://schemas.microsoft.com/office/drawing/2014/main" val="1459773377"/>
                    </a:ext>
                  </a:extLst>
                </a:gridCol>
              </a:tblGrid>
              <a:tr h="301170"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Year of supply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endParaRPr lang="en-US" sz="13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Equipment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Number of machines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9C0AB41-03E1-4251-AB4E-277014F49044}"/>
              </a:ext>
            </a:extLst>
          </p:cNvPr>
          <p:cNvSpPr txBox="1"/>
          <p:nvPr/>
        </p:nvSpPr>
        <p:spPr>
          <a:xfrm>
            <a:off x="191383" y="95437"/>
            <a:ext cx="5131420" cy="313932"/>
          </a:xfrm>
          <a:prstGeom prst="rect">
            <a:avLst/>
          </a:prstGeom>
        </p:spPr>
        <p:txBody>
          <a:bodyPr vert="horz" wrap="square" lIns="90000" tIns="45720" rIns="91440" bIns="45720" rtlCol="0" anchor="ctr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defRPr sz="160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r>
              <a:rPr lang="ru-RU" altLang="ru-RU" dirty="0"/>
              <a:t>ПРОКАТНОЕ ОБОРУДОВАНИЕ </a:t>
            </a:r>
            <a:r>
              <a:rPr lang="en-US" altLang="ru-RU" dirty="0"/>
              <a:t>-</a:t>
            </a:r>
            <a:r>
              <a:rPr lang="ru-RU" altLang="ru-RU" dirty="0"/>
              <a:t> </a:t>
            </a:r>
            <a:r>
              <a:rPr lang="en-US" altLang="ru-RU" dirty="0"/>
              <a:t>CLIENT CASES </a:t>
            </a:r>
            <a:endParaRPr lang="ru-RU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8D1039-152A-4F54-B8B0-9A96B54A93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904628"/>
              </p:ext>
            </p:extLst>
          </p:nvPr>
        </p:nvGraphicFramePr>
        <p:xfrm>
          <a:off x="221226" y="968534"/>
          <a:ext cx="8627807" cy="38394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8418">
                  <a:extLst>
                    <a:ext uri="{9D8B030D-6E8A-4147-A177-3AD203B41FA5}">
                      <a16:colId xmlns:a16="http://schemas.microsoft.com/office/drawing/2014/main" val="2676569775"/>
                    </a:ext>
                  </a:extLst>
                </a:gridCol>
                <a:gridCol w="2605685">
                  <a:extLst>
                    <a:ext uri="{9D8B030D-6E8A-4147-A177-3AD203B41FA5}">
                      <a16:colId xmlns:a16="http://schemas.microsoft.com/office/drawing/2014/main" val="176218250"/>
                    </a:ext>
                  </a:extLst>
                </a:gridCol>
                <a:gridCol w="3854698">
                  <a:extLst>
                    <a:ext uri="{9D8B030D-6E8A-4147-A177-3AD203B41FA5}">
                      <a16:colId xmlns:a16="http://schemas.microsoft.com/office/drawing/2014/main" val="3727305276"/>
                    </a:ext>
                  </a:extLst>
                </a:gridCol>
                <a:gridCol w="1159006">
                  <a:extLst>
                    <a:ext uri="{9D8B030D-6E8A-4147-A177-3AD203B41FA5}">
                      <a16:colId xmlns:a16="http://schemas.microsoft.com/office/drawing/2014/main" val="1426972541"/>
                    </a:ext>
                  </a:extLst>
                </a:gridCol>
              </a:tblGrid>
              <a:tr h="23282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7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г. </a:t>
                      </a:r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Бхилаи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Блюминг-слябинг 1150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833411115"/>
                  </a:ext>
                </a:extLst>
              </a:tr>
              <a:tr h="23282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7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г. </a:t>
                      </a:r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Бхилаи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Блюминг-слябинг 1150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849527168"/>
                  </a:ext>
                </a:extLst>
              </a:tr>
              <a:tr h="23282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8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хилаи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ельсобалочный стан 950/800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586585109"/>
                  </a:ext>
                </a:extLst>
              </a:tr>
              <a:tr h="187320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8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г. </a:t>
                      </a:r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Бхилаи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ельсобалочный стан 950/800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516661728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59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г. </a:t>
                      </a:r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Бхилаи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ельсо-сорто-правильная машина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1335728856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4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 Бхилаи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Непрерывно-заготовочный стан 700/500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502130566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7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окаро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Непрерывно-травильный агрегат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 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44575276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7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окаро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Агрегат продольной резки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 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326662316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7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окаро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Агрегат поперечной резки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 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502859673"/>
                  </a:ext>
                </a:extLst>
              </a:tr>
              <a:tr h="351806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7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окаро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Агрегат поперечной резки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 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1340791524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9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окаро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Непрерывный </a:t>
                      </a:r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четырёхклетевой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стан 2000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 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707617485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79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окаро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Одноклетевой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дрессировочный стан 2000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 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418779859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94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хилаи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ельсобалочный стан 950/800        Участок правки рельсов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813653622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95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хилаи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ельсо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</a:t>
                      </a:r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сорто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-правильная машина ГРПМ 1400/6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637086637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95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, г. Бхилаи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ельсо-сорто-правильная машина ВРПМ 1200/6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1596791187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97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Метзавод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, г. </a:t>
                      </a:r>
                      <a:r>
                        <a:rPr lang="ru-RU" sz="900" b="0" i="0" u="none" strike="noStrike" dirty="0" err="1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Бхилаи</a:t>
                      </a:r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 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Рельсобалочный стан 950/800    (Реконструкция участка клетей.) 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1080201447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012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Bhilai Steel Plant, г. Бхилаи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Клеть Трио 800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922154676"/>
                  </a:ext>
                </a:extLst>
              </a:tr>
              <a:tr h="20014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012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Midhani, </a:t>
                      </a:r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г.Хайдерабад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Кольцепрокатный стан 3500-600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275950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706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7372258"/>
              </p:ext>
            </p:extLst>
          </p:nvPr>
        </p:nvGraphicFramePr>
        <p:xfrm>
          <a:off x="191382" y="611397"/>
          <a:ext cx="8861177" cy="42803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34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6742">
                  <a:extLst>
                    <a:ext uri="{9D8B030D-6E8A-4147-A177-3AD203B41FA5}">
                      <a16:colId xmlns:a16="http://schemas.microsoft.com/office/drawing/2014/main" val="1590248000"/>
                    </a:ext>
                  </a:extLst>
                </a:gridCol>
                <a:gridCol w="1482213">
                  <a:extLst>
                    <a:ext uri="{9D8B030D-6E8A-4147-A177-3AD203B41FA5}">
                      <a16:colId xmlns:a16="http://schemas.microsoft.com/office/drawing/2014/main" val="1915147007"/>
                    </a:ext>
                  </a:extLst>
                </a:gridCol>
                <a:gridCol w="2128191">
                  <a:extLst>
                    <a:ext uri="{9D8B030D-6E8A-4147-A177-3AD203B41FA5}">
                      <a16:colId xmlns:a16="http://schemas.microsoft.com/office/drawing/2014/main" val="511276741"/>
                    </a:ext>
                  </a:extLst>
                </a:gridCol>
              </a:tblGrid>
              <a:tr h="370396"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cs-CZ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Defence Industry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1755" marR="175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Year of supply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Number of machines,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3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Characteristics</a:t>
                      </a:r>
                    </a:p>
                  </a:txBody>
                  <a:tcPr marL="1755" marR="175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686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Стан для гибки труб методом наматывания </a:t>
                      </a:r>
                    </a:p>
                  </a:txBody>
                  <a:tcPr marL="7620" marR="7620" marT="762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6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Диаметр трубы -114-426 мм 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6251587"/>
                  </a:ext>
                </a:extLst>
              </a:tr>
              <a:tr h="625869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Правильно-растяжная машина </a:t>
                      </a:r>
                    </a:p>
                  </a:txBody>
                  <a:tcPr marL="7620" marR="7620" marT="762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968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Усилие пресса -7 МН. Правка профилей и панелей из алюминиевых сплавов с выкруткой.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4867803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Правильно-растяжная машина ПРМ-1500</a:t>
                      </a:r>
                    </a:p>
                  </a:txBody>
                  <a:tcPr marL="7620" marR="7620" marT="762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2017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3366"/>
                          </a:solidFill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effectLst/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Усилие пресса - 150 тс</a:t>
                      </a:r>
                    </a:p>
                  </a:txBody>
                  <a:tcPr marL="7620" marR="7620" marT="7620" marB="0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110277"/>
                  </a:ext>
                </a:extLst>
              </a:tr>
              <a:tr h="370396"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NPP INDUSTR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Segoe UI Light" panose="020B0502040204020203" pitchFamily="34" charset="0"/>
                        <a:ea typeface="PT Root UI Light" panose="020B0203020202020204" pitchFamily="34" charset="-52"/>
                        <a:cs typeface="Segoe UI Light" panose="020B0502040204020203" pitchFamily="34" charset="0"/>
                      </a:endParaRPr>
                    </a:p>
                  </a:txBody>
                  <a:tcPr marL="1755" marR="175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Year of supply</a:t>
                      </a:r>
                    </a:p>
                  </a:txBody>
                  <a:tcPr marL="1755" marR="1755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Number of machines,</a:t>
                      </a:r>
                    </a:p>
                  </a:txBody>
                  <a:tcPr marL="1755" marR="1755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300"/>
                        </a:lnSpc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 Light" panose="020B0502040204020203" pitchFamily="34" charset="0"/>
                          <a:ea typeface="PT Root UI Light" panose="020B0203020202020204" pitchFamily="34" charset="-52"/>
                          <a:cs typeface="Segoe UI Light" panose="020B0502040204020203" pitchFamily="34" charset="0"/>
                        </a:rPr>
                        <a:t>Characteristics</a:t>
                      </a:r>
                    </a:p>
                  </a:txBody>
                  <a:tcPr marL="1755" marR="1755" marT="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14367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 «Атомстройэкспорт», для АЭС «Куданкулам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6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Легкие и средние краны для АЭС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 «Атомстройэкспорт», для АЭС «Куданкулам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6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н мостовой поляр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 «Атомстройэкспорт» для АЭС «Куданкулам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н мостовой поляр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 «Атомстройэкспорт» для АЭС «Куданкулам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6‑2008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ны эстакад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 «Атомстройэкспорт» для АЭС «Куданкулам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7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н хранилища свежего топлив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2088708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О «Атомстройэкспорт» для АЭС «Куданкулам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8‑2009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шина перегрузочная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418106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АО «Атомстройэкспорт» для АЭС «Куданкулам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анируемый срок 2023 г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ны эстакады - 2 ед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297764"/>
                  </a:ext>
                </a:extLst>
              </a:tr>
              <a:tr h="278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АО «Атомстройэкспорт» для АЭС «</a:t>
                      </a:r>
                      <a:r>
                        <a:rPr lang="ru-RU" sz="1050" b="0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Куданкулам</a:t>
                      </a:r>
                      <a:r>
                        <a:rPr lang="ru-RU" sz="105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»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анируемый срок 2023 г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шины перегрузочные - 2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ед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671088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79C0AB41-03E1-4251-AB4E-277014F49044}"/>
              </a:ext>
            </a:extLst>
          </p:cNvPr>
          <p:cNvSpPr txBox="1"/>
          <p:nvPr/>
        </p:nvSpPr>
        <p:spPr>
          <a:xfrm>
            <a:off x="191383" y="-15362"/>
            <a:ext cx="5131420" cy="535531"/>
          </a:xfrm>
          <a:prstGeom prst="rect">
            <a:avLst/>
          </a:prstGeom>
        </p:spPr>
        <p:txBody>
          <a:bodyPr vert="horz" wrap="square" lIns="90000" tIns="45720" rIns="91440" bIns="45720" rtlCol="0" anchor="ctr">
            <a:sp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defRPr sz="160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r>
              <a:rPr lang="ru-RU" altLang="ru-RU" dirty="0"/>
              <a:t>ОБОРОННАЯ И АТОМНАЯ ПРОМ. </a:t>
            </a:r>
            <a:r>
              <a:rPr lang="en-US" altLang="ru-RU" dirty="0"/>
              <a:t>EQUIPMENT SUPPLY -</a:t>
            </a:r>
            <a:r>
              <a:rPr lang="ru-RU" altLang="ru-RU" dirty="0"/>
              <a:t> </a:t>
            </a:r>
            <a:r>
              <a:rPr lang="en-US" altLang="ru-RU" dirty="0"/>
              <a:t>CLIENT CASES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3046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675BFF8-DCEC-440D-A22E-1A92C7604A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2887" y="1175656"/>
            <a:ext cx="3728776" cy="2605036"/>
          </a:xfrm>
        </p:spPr>
        <p:txBody>
          <a:bodyPr/>
          <a:lstStyle/>
          <a:p>
            <a:r>
              <a:rPr lang="ru-RU" dirty="0"/>
              <a:t>Место для доп. фотографий оборудования с УЗТМ, собираем с облака по всему.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FE25390-52B5-4998-9DA3-57E7ADF0C01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710813-D536-4422-AF51-3C9F20F4103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681788" y="4716463"/>
            <a:ext cx="2462212" cy="331787"/>
          </a:xfrm>
        </p:spPr>
        <p:txBody>
          <a:bodyPr/>
          <a:lstStyle/>
          <a:p>
            <a:fld id="{B6F15528-21DE-4FAA-801E-634DDDAF4B2B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900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BEDF8BA-ED96-4877-8B58-1D944052D132}"/>
              </a:ext>
            </a:extLst>
          </p:cNvPr>
          <p:cNvSpPr txBox="1">
            <a:spLocks/>
          </p:cNvSpPr>
          <p:nvPr/>
        </p:nvSpPr>
        <p:spPr bwMode="auto">
          <a:xfrm>
            <a:off x="6746939" y="781275"/>
            <a:ext cx="1592148" cy="15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folHlink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2pPr>
            <a:lvl3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3pPr>
            <a:lvl4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4pPr>
            <a:lvl5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5pPr>
            <a:lvl6pPr marL="567062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6pPr>
            <a:lvl7pPr marL="1134120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7pPr>
            <a:lvl8pPr marL="1701179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8pPr>
            <a:lvl9pPr marL="2268241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algn="ctr" defTabSz="851927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975" b="0" kern="0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Among our customer are </a:t>
            </a:r>
            <a:r>
              <a:rPr lang="ru-RU" sz="975" b="0" kern="0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: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BEDF8BA-ED96-4877-8B58-1D944052D132}"/>
              </a:ext>
            </a:extLst>
          </p:cNvPr>
          <p:cNvSpPr txBox="1">
            <a:spLocks/>
          </p:cNvSpPr>
          <p:nvPr/>
        </p:nvSpPr>
        <p:spPr bwMode="auto">
          <a:xfrm>
            <a:off x="798217" y="527135"/>
            <a:ext cx="5819684" cy="41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folHlink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2pPr>
            <a:lvl3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3pPr>
            <a:lvl4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4pPr>
            <a:lvl5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5pPr>
            <a:lvl6pPr marL="567062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6pPr>
            <a:lvl7pPr marL="1134120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7pPr>
            <a:lvl8pPr marL="1701179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8pPr>
            <a:lvl9pPr marL="2268241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algn="just" defTabSz="579580" fontAlgn="auto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900" b="0" kern="0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UZTM-KARTEX Group is one of the leading manufacturer of one of the leading manufacturer of heavy machinery equipment for</a:t>
            </a:r>
            <a:r>
              <a:rPr lang="ru-RU" sz="900" b="0" kern="0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 </a:t>
            </a:r>
            <a:r>
              <a:rPr lang="en-US" sz="900" b="0" kern="0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the mining industry. In cooperation with leading design institutes and contractors the Group implemented most complicated and comprehensive projects, including the construction of processing plants.</a:t>
            </a:r>
            <a:endParaRPr lang="ru-RU" sz="900" b="0" kern="0" dirty="0">
              <a:solidFill>
                <a:prstClr val="black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23321" y="3858444"/>
            <a:ext cx="1119781" cy="1001036"/>
          </a:xfrm>
          <a:prstGeom prst="rect">
            <a:avLst/>
          </a:prstGeom>
          <a:solidFill>
            <a:srgbClr val="62697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0" numCol="1" rtlCol="0" anchor="ctr" anchorCtr="0" compatLnSpc="1">
            <a:prstTxWarp prst="textNoShape">
              <a:avLst/>
            </a:prstTxWarp>
          </a:bodyPr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algn="ctr">
              <a:buClr>
                <a:srgbClr val="000000"/>
              </a:buClr>
              <a:defRPr/>
            </a:pPr>
            <a: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Foundry</a:t>
            </a:r>
            <a:b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</a:br>
            <a: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Manufacturing</a:t>
            </a:r>
            <a:endParaRPr lang="ru-RU" sz="900" kern="0" cap="all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423321" y="2674908"/>
            <a:ext cx="1119781" cy="1143227"/>
          </a:xfrm>
          <a:prstGeom prst="rect">
            <a:avLst/>
          </a:prstGeom>
          <a:solidFill>
            <a:srgbClr val="62697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0" numCol="1" rtlCol="0" anchor="ctr" anchorCtr="0" compatLnSpc="1">
            <a:prstTxWarp prst="textNoShape">
              <a:avLst/>
            </a:prstTxWarp>
          </a:bodyPr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kern="0" dirty="0">
                <a:solidFill>
                  <a:prstClr val="white">
                    <a:lumMod val="6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          </a:t>
            </a:r>
            <a:r>
              <a:rPr lang="ru-RU" sz="900" kern="0" dirty="0">
                <a:solidFill>
                  <a:prstClr val="white">
                    <a:lumMod val="6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______</a:t>
            </a:r>
          </a:p>
          <a:p>
            <a:pPr algn="ctr">
              <a:buClr>
                <a:srgbClr val="000000"/>
              </a:buClr>
              <a:defRPr/>
            </a:pPr>
            <a:b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</a:br>
            <a: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IZ-KARTEX named </a:t>
            </a:r>
            <a:b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</a:br>
            <a: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after P.G. </a:t>
            </a:r>
            <a:r>
              <a:rPr lang="en-US" sz="900" kern="0" cap="all" dirty="0" err="1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Korobkov</a:t>
            </a:r>
            <a: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» LLC</a:t>
            </a:r>
            <a:endParaRPr lang="ru-RU" sz="900" kern="0" cap="all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09413" y="2844697"/>
            <a:ext cx="416437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125"/>
              </a:lnSpc>
              <a:spcAft>
                <a:spcPts val="450"/>
              </a:spcAft>
              <a:buClr>
                <a:srgbClr val="000000"/>
              </a:buClr>
              <a:defRPr/>
            </a:pP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One of the biggest producers of electric shovels in in the Russian Federation and the CIS states. Machinery equipment pool is more that 200 units.</a:t>
            </a:r>
          </a:p>
          <a:p>
            <a:pPr>
              <a:lnSpc>
                <a:spcPts val="1125"/>
              </a:lnSpc>
              <a:spcAft>
                <a:spcPts val="450"/>
              </a:spcAft>
              <a:buClr>
                <a:srgbClr val="000000"/>
              </a:buClr>
              <a:defRPr/>
            </a:pP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Since 1</a:t>
            </a:r>
            <a:r>
              <a:rPr lang="ru-RU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9</a:t>
            </a: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57 more than 3800 shovels have been manufactured and supplied. More then 1000 shovels are still in operation.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1"/>
          <a:stretch/>
        </p:blipFill>
        <p:spPr>
          <a:xfrm>
            <a:off x="1681588" y="1629220"/>
            <a:ext cx="3511988" cy="324372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 bwMode="auto">
          <a:xfrm>
            <a:off x="423321" y="1528655"/>
            <a:ext cx="1119781" cy="1112631"/>
          </a:xfrm>
          <a:prstGeom prst="rect">
            <a:avLst/>
          </a:prstGeom>
          <a:solidFill>
            <a:srgbClr val="62697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algn="ctr" defTabSz="685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kern="0" dirty="0">
                <a:solidFill>
                  <a:prstClr val="white">
                    <a:lumMod val="65000"/>
                  </a:prstClr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______</a:t>
            </a:r>
          </a:p>
          <a:p>
            <a:pPr defTabSz="68578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kern="0" cap="all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  <a:sym typeface="Arial"/>
            </a:endParaRPr>
          </a:p>
          <a:p>
            <a:pPr algn="ctr">
              <a:buClr>
                <a:srgbClr val="000000"/>
              </a:buClr>
              <a:defRPr/>
            </a:pPr>
            <a:r>
              <a:rPr lang="en-US" sz="900" kern="0" cap="all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«URALMASHPLANT» PJSC</a:t>
            </a:r>
          </a:p>
        </p:txBody>
      </p:sp>
      <p:pic>
        <p:nvPicPr>
          <p:cNvPr id="60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6916" y="3157686"/>
            <a:ext cx="796523" cy="424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0119" y="999059"/>
            <a:ext cx="688712" cy="332307"/>
          </a:xfrm>
          <a:prstGeom prst="rect">
            <a:avLst/>
          </a:prstGeom>
        </p:spPr>
      </p:pic>
      <p:pic>
        <p:nvPicPr>
          <p:cNvPr id="64" name="Picture 2374" descr="v_strane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7449" y="3493789"/>
            <a:ext cx="410586" cy="67088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chart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8370" y="3338118"/>
            <a:ext cx="621749" cy="710084"/>
          </a:xfrm>
          <a:prstGeom prst="rect">
            <a:avLst/>
          </a:prstGeom>
        </p:spPr>
      </p:pic>
      <p:pic>
        <p:nvPicPr>
          <p:cNvPr id="66" name="Picture 1054" descr="metinvest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8402" y="4413889"/>
            <a:ext cx="1306784" cy="500906"/>
          </a:xfrm>
          <a:prstGeom prst="rect">
            <a:avLst/>
          </a:prstGeom>
          <a:solidFill>
            <a:schemeClr val="bg1"/>
          </a:solidFill>
          <a:ln w="3175">
            <a:noFill/>
            <a:miter lim="800000"/>
            <a:headEnd/>
            <a:tailEnd/>
          </a:ln>
        </p:spPr>
      </p:pic>
      <p:pic>
        <p:nvPicPr>
          <p:cNvPr id="67" name="Рисунок 6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8128" y="2025956"/>
            <a:ext cx="1062938" cy="485313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345" y="1428812"/>
            <a:ext cx="1074720" cy="494617"/>
          </a:xfrm>
          <a:prstGeom prst="rect">
            <a:avLst/>
          </a:prstGeom>
        </p:spPr>
      </p:pic>
      <p:pic>
        <p:nvPicPr>
          <p:cNvPr id="69" name="Picture 4" descr="ÐÐ°ÑÑÐ¸Ð½ÐºÐ¸ Ð¿Ð¾ Ð·Ð°Ð¿ÑÐ¾ÑÑ ÐµÐ²ÑÐ¾ÑÐ¸Ð¼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22804" y="2593800"/>
            <a:ext cx="1433995" cy="433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" descr="https://yt3.ggpht.com/a/AATXAJwlMsooObs9RsV6zcPqn5f6V_r7di4jidqAMUsw=s900-c-k-c0xffffffff-no-rj-mo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5800" y="3637174"/>
            <a:ext cx="601925" cy="60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92" y="509611"/>
            <a:ext cx="305447" cy="305381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4" y="1059148"/>
            <a:ext cx="305447" cy="305381"/>
          </a:xfrm>
          <a:prstGeom prst="rect">
            <a:avLst/>
          </a:prstGeom>
        </p:spPr>
      </p:pic>
      <p:pic>
        <p:nvPicPr>
          <p:cNvPr id="74" name="Picture 2" descr="https://kranmash-ekb.ru/upload/iblock/6e0/6e03bfecba4c31e4b6414dfa2eeea748.jp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7025" y="1011974"/>
            <a:ext cx="1186946" cy="418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6" descr="https://www.spbstu.ru/upload/medialibrary/e5f/7.jpg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5130" y="4389733"/>
            <a:ext cx="1246300" cy="44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16949" y="2596579"/>
            <a:ext cx="727099" cy="509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6889" y="2040680"/>
            <a:ext cx="721333" cy="478007"/>
          </a:xfrm>
          <a:prstGeom prst="rect">
            <a:avLst/>
          </a:prstGeom>
        </p:spPr>
      </p:pic>
      <p:pic>
        <p:nvPicPr>
          <p:cNvPr id="3" name="Picture 10" descr="https://mms.businesswire.com/media/20180619006114/en/664096/23/ENRC_logo.jpg"/>
          <p:cNvPicPr>
            <a:picLocks noChangeAspect="1"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08052" y="2992361"/>
            <a:ext cx="827558" cy="626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5578" y="1411918"/>
            <a:ext cx="985394" cy="535346"/>
          </a:xfrm>
          <a:prstGeom prst="rect">
            <a:avLst/>
          </a:prstGeom>
        </p:spPr>
      </p:pic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id="{82692622-ECE6-43E1-B38F-DC7AC998902A}"/>
              </a:ext>
            </a:extLst>
          </p:cNvPr>
          <p:cNvCxnSpPr>
            <a:cxnSpLocks/>
          </p:cNvCxnSpPr>
          <p:nvPr/>
        </p:nvCxnSpPr>
        <p:spPr>
          <a:xfrm flipV="1">
            <a:off x="5840100" y="1211837"/>
            <a:ext cx="0" cy="3659837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5BB93E7D-FAB5-462E-AB5F-2676C1ABAD16}"/>
              </a:ext>
            </a:extLst>
          </p:cNvPr>
          <p:cNvSpPr txBox="1"/>
          <p:nvPr/>
        </p:nvSpPr>
        <p:spPr>
          <a:xfrm>
            <a:off x="755387" y="-512620"/>
            <a:ext cx="4572000" cy="41549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ru-RU"/>
            </a:defPPr>
            <a:lvl1pPr>
              <a:buClr>
                <a:srgbClr val="000000"/>
              </a:buClr>
              <a:defRPr sz="2100" b="0" kern="0" cap="all">
                <a:solidFill>
                  <a:srgbClr val="626974"/>
                </a:solidFill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defRPr>
            </a:lvl1pPr>
            <a:lvl2pPr>
              <a:defRPr sz="1517"/>
            </a:lvl2pPr>
            <a:lvl3pPr>
              <a:defRPr sz="1517"/>
            </a:lvl3pPr>
            <a:lvl4pPr>
              <a:defRPr sz="1517"/>
            </a:lvl4pPr>
            <a:lvl5pPr>
              <a:defRPr sz="1517"/>
            </a:lvl5pPr>
            <a:lvl6pPr>
              <a:defRPr sz="1517"/>
            </a:lvl6pPr>
            <a:lvl7pPr>
              <a:defRPr sz="1517"/>
            </a:lvl7pPr>
            <a:lvl8pPr>
              <a:defRPr sz="1517"/>
            </a:lvl8pPr>
            <a:lvl9pPr>
              <a:defRPr sz="1517"/>
            </a:lvl9pPr>
          </a:lstStyle>
          <a:p>
            <a:endParaRPr lang="ru-RU" dirty="0">
              <a:sym typeface="Arial"/>
            </a:endParaRPr>
          </a:p>
        </p:txBody>
      </p:sp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C09F84DD-90DB-47B1-AB2A-5FC16A9F05F9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784"/>
          <a:stretch/>
        </p:blipFill>
        <p:spPr>
          <a:xfrm>
            <a:off x="594840" y="2765496"/>
            <a:ext cx="603210" cy="357531"/>
          </a:xfrm>
          <a:prstGeom prst="rect">
            <a:avLst/>
          </a:prstGeom>
        </p:spPr>
      </p:pic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1097BAB7-9770-462B-ACD7-5956E1305D5D}"/>
              </a:ext>
            </a:extLst>
          </p:cNvPr>
          <p:cNvSpPr/>
          <p:nvPr/>
        </p:nvSpPr>
        <p:spPr>
          <a:xfrm>
            <a:off x="1589621" y="3943533"/>
            <a:ext cx="416899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125"/>
              </a:lnSpc>
              <a:spcAft>
                <a:spcPts val="450"/>
              </a:spcAft>
              <a:buClr>
                <a:srgbClr val="000000"/>
              </a:buClr>
              <a:defRPr/>
            </a:pPr>
            <a:r>
              <a:rPr lang="en-US" altLang="ru-RU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/>
                <a:sym typeface="Arial"/>
              </a:rPr>
              <a:t>Foundry manufacturing (branch of IZ-KARTEX) an manufacture with unique technical capabilities of producing large-capacity (up to 250 t) and large-sized castings.</a:t>
            </a:r>
          </a:p>
          <a:p>
            <a:pPr>
              <a:lnSpc>
                <a:spcPts val="1125"/>
              </a:lnSpc>
              <a:spcAft>
                <a:spcPts val="450"/>
              </a:spcAft>
              <a:buClr>
                <a:srgbClr val="000000"/>
              </a:buClr>
              <a:defRPr/>
            </a:pPr>
            <a:r>
              <a:rPr lang="en-US" altLang="ru-RU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/>
                <a:sym typeface="Arial"/>
              </a:rPr>
              <a:t>Castings are certified by Lloyd's Register (UK), Bureau Veritas (France), DNV (Norway), and the Russian Maritime Register of Shipping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3A85FA46-2ACF-4122-A894-94E4CF763AF3}"/>
              </a:ext>
            </a:extLst>
          </p:cNvPr>
          <p:cNvSpPr/>
          <p:nvPr/>
        </p:nvSpPr>
        <p:spPr>
          <a:xfrm>
            <a:off x="1624585" y="1953592"/>
            <a:ext cx="4160316" cy="7207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125"/>
              </a:lnSpc>
              <a:spcAft>
                <a:spcPts val="450"/>
              </a:spcAft>
              <a:buClr>
                <a:srgbClr val="000000"/>
              </a:buClr>
              <a:defRPr/>
            </a:pP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History of «</a:t>
            </a:r>
            <a:r>
              <a:rPr lang="en-US" sz="1000" kern="0" dirty="0" err="1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Uralmashplant</a:t>
            </a: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» spans for more than 80 years.</a:t>
            </a:r>
          </a:p>
          <a:p>
            <a:pPr>
              <a:lnSpc>
                <a:spcPts val="1125"/>
              </a:lnSpc>
              <a:spcAft>
                <a:spcPts val="450"/>
              </a:spcAft>
              <a:buClr>
                <a:srgbClr val="000000"/>
              </a:buClr>
              <a:defRPr/>
            </a:pP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«</a:t>
            </a:r>
            <a:r>
              <a:rPr lang="en-US" sz="1000" kern="0" dirty="0" err="1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Uralmashplant</a:t>
            </a: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» is the only manufacturer of dragline excavators,  and belt sintering machines in Russia</a:t>
            </a:r>
            <a:r>
              <a:rPr lang="ru-RU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.</a:t>
            </a: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 Manufacturer of crushing and grinding</a:t>
            </a:r>
            <a:r>
              <a:rPr lang="ru-RU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 </a:t>
            </a:r>
            <a:r>
              <a:rPr lang="cs-CZ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equipment.</a:t>
            </a:r>
            <a:r>
              <a:rPr lang="en-US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 </a:t>
            </a:r>
            <a:r>
              <a:rPr lang="ru-RU" sz="1000" kern="0" dirty="0">
                <a:solidFill>
                  <a:srgbClr val="000000"/>
                </a:solidFill>
                <a:latin typeface="Segoe UI Light" panose="020B0502040204020203" pitchFamily="34" charset="0"/>
                <a:cs typeface="Arial" pitchFamily="34" charset="0"/>
                <a:sym typeface="Arial"/>
              </a:rPr>
              <a:t>  </a:t>
            </a:r>
          </a:p>
        </p:txBody>
      </p:sp>
      <p:sp>
        <p:nvSpPr>
          <p:cNvPr id="92" name="Заголовок 1">
            <a:extLst>
              <a:ext uri="{FF2B5EF4-FFF2-40B4-BE49-F238E27FC236}">
                <a16:creationId xmlns:a16="http://schemas.microsoft.com/office/drawing/2014/main" id="{46D13808-9496-4FFC-A1E5-38D1E7530EE0}"/>
              </a:ext>
            </a:extLst>
          </p:cNvPr>
          <p:cNvSpPr txBox="1">
            <a:spLocks/>
          </p:cNvSpPr>
          <p:nvPr/>
        </p:nvSpPr>
        <p:spPr bwMode="auto">
          <a:xfrm>
            <a:off x="814255" y="1222717"/>
            <a:ext cx="7600775" cy="13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folHlink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2pPr>
            <a:lvl3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3pPr>
            <a:lvl4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4pPr>
            <a:lvl5pPr algn="l" defTabSz="118334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folHlink"/>
                </a:solidFill>
                <a:latin typeface="Arial" charset="0"/>
              </a:defRPr>
            </a:lvl5pPr>
            <a:lvl6pPr marL="567062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6pPr>
            <a:lvl7pPr marL="1134120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7pPr>
            <a:lvl8pPr marL="1701179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8pPr>
            <a:lvl9pPr marL="2268241" algn="l" defTabSz="1110494" rtl="0" fontAlgn="base"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algn="just" defTabSz="579580" fontAlgn="auto">
              <a:lnSpc>
                <a:spcPts val="1125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sz="900" b="0" kern="0" dirty="0">
                <a:solidFill>
                  <a:prstClr val="black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The Group unites two machine-building plants and one metallurgical plant.</a:t>
            </a:r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9D6F7264-F399-4E48-839E-3DEF6C0830BC}"/>
              </a:ext>
            </a:extLst>
          </p:cNvPr>
          <p:cNvSpPr txBox="1">
            <a:spLocks/>
          </p:cNvSpPr>
          <p:nvPr/>
        </p:nvSpPr>
        <p:spPr>
          <a:xfrm>
            <a:off x="195317" y="90929"/>
            <a:ext cx="6484529" cy="24267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defRPr sz="2400" b="1">
                <a:solidFill>
                  <a:srgbClr val="022E64"/>
                </a:solidFill>
                <a:latin typeface="Calibri" panose="020F0502020204030204" pitchFamily="34" charset="0"/>
                <a:ea typeface="+mj-ea"/>
                <a:cs typeface="Arial" charset="0"/>
              </a:defRPr>
            </a:lvl1pPr>
            <a:lvl2pPr>
              <a:defRPr sz="1517"/>
            </a:lvl2pPr>
            <a:lvl3pPr>
              <a:defRPr sz="1517"/>
            </a:lvl3pPr>
            <a:lvl4pPr>
              <a:defRPr sz="1517"/>
            </a:lvl4pPr>
            <a:lvl5pPr>
              <a:defRPr sz="1517"/>
            </a:lvl5pPr>
            <a:lvl6pPr>
              <a:defRPr sz="1517"/>
            </a:lvl6pPr>
            <a:lvl7pPr>
              <a:defRPr sz="1517"/>
            </a:lvl7pPr>
            <a:lvl8pPr>
              <a:defRPr sz="1517"/>
            </a:lvl8pPr>
            <a:lvl9pPr>
              <a:defRPr sz="1517"/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2100" b="0" kern="0" cap="all" dirty="0">
                <a:solidFill>
                  <a:srgbClr val="626974"/>
                </a:solidFill>
                <a:latin typeface="Segoe UI Light" panose="020B0502040204020203" pitchFamily="34" charset="0"/>
                <a:cs typeface="Segoe UI Light" panose="020B0502040204020203" pitchFamily="34" charset="0"/>
                <a:sym typeface="Arial"/>
              </a:rPr>
              <a:t>UZTM-KARTEX Group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1DF2B6A4-30B5-425E-9A3C-0B840D945A5F}"/>
              </a:ext>
            </a:extLst>
          </p:cNvPr>
          <p:cNvGrpSpPr/>
          <p:nvPr/>
        </p:nvGrpSpPr>
        <p:grpSpPr>
          <a:xfrm>
            <a:off x="660439" y="1622781"/>
            <a:ext cx="612259" cy="353669"/>
            <a:chOff x="3598419" y="1347909"/>
            <a:chExt cx="796926" cy="384175"/>
          </a:xfrm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A82D9467-20DA-4B17-A4C8-93B4A46B9A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8419" y="1347909"/>
              <a:ext cx="796926" cy="384175"/>
            </a:xfrm>
            <a:custGeom>
              <a:avLst/>
              <a:gdLst>
                <a:gd name="T0" fmla="*/ 276 w 579"/>
                <a:gd name="T1" fmla="*/ 3 h 266"/>
                <a:gd name="T2" fmla="*/ 471 w 579"/>
                <a:gd name="T3" fmla="*/ 35 h 266"/>
                <a:gd name="T4" fmla="*/ 548 w 579"/>
                <a:gd name="T5" fmla="*/ 154 h 266"/>
                <a:gd name="T6" fmla="*/ 450 w 579"/>
                <a:gd name="T7" fmla="*/ 222 h 266"/>
                <a:gd name="T8" fmla="*/ 37 w 579"/>
                <a:gd name="T9" fmla="*/ 168 h 266"/>
                <a:gd name="T10" fmla="*/ 26 w 579"/>
                <a:gd name="T11" fmla="*/ 150 h 266"/>
                <a:gd name="T12" fmla="*/ 99 w 579"/>
                <a:gd name="T13" fmla="*/ 37 h 266"/>
                <a:gd name="T14" fmla="*/ 276 w 579"/>
                <a:gd name="T15" fmla="*/ 3 h 266"/>
                <a:gd name="T16" fmla="*/ 194 w 579"/>
                <a:gd name="T17" fmla="*/ 35 h 266"/>
                <a:gd name="T18" fmla="*/ 84 w 579"/>
                <a:gd name="T19" fmla="*/ 74 h 266"/>
                <a:gd name="T20" fmla="*/ 50 w 579"/>
                <a:gd name="T21" fmla="*/ 112 h 266"/>
                <a:gd name="T22" fmla="*/ 74 w 579"/>
                <a:gd name="T23" fmla="*/ 168 h 266"/>
                <a:gd name="T24" fmla="*/ 447 w 579"/>
                <a:gd name="T25" fmla="*/ 196 h 266"/>
                <a:gd name="T26" fmla="*/ 528 w 579"/>
                <a:gd name="T27" fmla="*/ 131 h 266"/>
                <a:gd name="T28" fmla="*/ 502 w 579"/>
                <a:gd name="T29" fmla="*/ 81 h 266"/>
                <a:gd name="T30" fmla="*/ 264 w 579"/>
                <a:gd name="T31" fmla="*/ 28 h 266"/>
                <a:gd name="T32" fmla="*/ 194 w 579"/>
                <a:gd name="T33" fmla="*/ 35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9" h="266">
                  <a:moveTo>
                    <a:pt x="276" y="3"/>
                  </a:moveTo>
                  <a:cubicBezTo>
                    <a:pt x="349" y="0"/>
                    <a:pt x="421" y="14"/>
                    <a:pt x="471" y="35"/>
                  </a:cubicBezTo>
                  <a:cubicBezTo>
                    <a:pt x="513" y="53"/>
                    <a:pt x="579" y="95"/>
                    <a:pt x="548" y="154"/>
                  </a:cubicBezTo>
                  <a:cubicBezTo>
                    <a:pt x="530" y="187"/>
                    <a:pt x="491" y="208"/>
                    <a:pt x="450" y="222"/>
                  </a:cubicBezTo>
                  <a:cubicBezTo>
                    <a:pt x="322" y="266"/>
                    <a:pt x="103" y="250"/>
                    <a:pt x="37" y="168"/>
                  </a:cubicBezTo>
                  <a:cubicBezTo>
                    <a:pt x="32" y="162"/>
                    <a:pt x="29" y="157"/>
                    <a:pt x="26" y="150"/>
                  </a:cubicBezTo>
                  <a:cubicBezTo>
                    <a:pt x="0" y="94"/>
                    <a:pt x="62" y="54"/>
                    <a:pt x="99" y="37"/>
                  </a:cubicBezTo>
                  <a:cubicBezTo>
                    <a:pt x="146" y="16"/>
                    <a:pt x="206" y="6"/>
                    <a:pt x="276" y="3"/>
                  </a:cubicBezTo>
                  <a:close/>
                  <a:moveTo>
                    <a:pt x="194" y="35"/>
                  </a:moveTo>
                  <a:cubicBezTo>
                    <a:pt x="152" y="42"/>
                    <a:pt x="112" y="56"/>
                    <a:pt x="84" y="74"/>
                  </a:cubicBezTo>
                  <a:cubicBezTo>
                    <a:pt x="70" y="84"/>
                    <a:pt x="55" y="95"/>
                    <a:pt x="50" y="112"/>
                  </a:cubicBezTo>
                  <a:cubicBezTo>
                    <a:pt x="43" y="138"/>
                    <a:pt x="59" y="156"/>
                    <a:pt x="74" y="168"/>
                  </a:cubicBezTo>
                  <a:cubicBezTo>
                    <a:pt x="149" y="229"/>
                    <a:pt x="341" y="236"/>
                    <a:pt x="447" y="196"/>
                  </a:cubicBezTo>
                  <a:cubicBezTo>
                    <a:pt x="478" y="185"/>
                    <a:pt x="522" y="164"/>
                    <a:pt x="528" y="131"/>
                  </a:cubicBezTo>
                  <a:cubicBezTo>
                    <a:pt x="532" y="107"/>
                    <a:pt x="517" y="93"/>
                    <a:pt x="502" y="81"/>
                  </a:cubicBezTo>
                  <a:cubicBezTo>
                    <a:pt x="453" y="42"/>
                    <a:pt x="358" y="24"/>
                    <a:pt x="264" y="28"/>
                  </a:cubicBezTo>
                  <a:cubicBezTo>
                    <a:pt x="239" y="29"/>
                    <a:pt x="216" y="31"/>
                    <a:pt x="194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000000"/>
                </a:buClr>
                <a:defRPr/>
              </a:pPr>
              <a:endParaRPr lang="ru-RU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2FFEFBD6-B07D-4B2A-8213-FA3CEF4F7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707" y="1403471"/>
              <a:ext cx="111125" cy="246063"/>
            </a:xfrm>
            <a:custGeom>
              <a:avLst/>
              <a:gdLst>
                <a:gd name="T0" fmla="*/ 81 w 81"/>
                <a:gd name="T1" fmla="*/ 7 h 171"/>
                <a:gd name="T2" fmla="*/ 81 w 81"/>
                <a:gd name="T3" fmla="*/ 29 h 171"/>
                <a:gd name="T4" fmla="*/ 55 w 81"/>
                <a:gd name="T5" fmla="*/ 27 h 171"/>
                <a:gd name="T6" fmla="*/ 55 w 81"/>
                <a:gd name="T7" fmla="*/ 169 h 171"/>
                <a:gd name="T8" fmla="*/ 28 w 81"/>
                <a:gd name="T9" fmla="*/ 171 h 171"/>
                <a:gd name="T10" fmla="*/ 28 w 81"/>
                <a:gd name="T11" fmla="*/ 25 h 171"/>
                <a:gd name="T12" fmla="*/ 1 w 81"/>
                <a:gd name="T13" fmla="*/ 24 h 171"/>
                <a:gd name="T14" fmla="*/ 2 w 81"/>
                <a:gd name="T15" fmla="*/ 1 h 171"/>
                <a:gd name="T16" fmla="*/ 81 w 81"/>
                <a:gd name="T17" fmla="*/ 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171">
                  <a:moveTo>
                    <a:pt x="81" y="7"/>
                  </a:moveTo>
                  <a:cubicBezTo>
                    <a:pt x="81" y="14"/>
                    <a:pt x="81" y="22"/>
                    <a:pt x="81" y="29"/>
                  </a:cubicBezTo>
                  <a:cubicBezTo>
                    <a:pt x="72" y="29"/>
                    <a:pt x="64" y="28"/>
                    <a:pt x="55" y="27"/>
                  </a:cubicBezTo>
                  <a:cubicBezTo>
                    <a:pt x="55" y="74"/>
                    <a:pt x="55" y="122"/>
                    <a:pt x="55" y="169"/>
                  </a:cubicBezTo>
                  <a:cubicBezTo>
                    <a:pt x="46" y="169"/>
                    <a:pt x="37" y="170"/>
                    <a:pt x="28" y="171"/>
                  </a:cubicBezTo>
                  <a:cubicBezTo>
                    <a:pt x="28" y="122"/>
                    <a:pt x="28" y="74"/>
                    <a:pt x="28" y="25"/>
                  </a:cubicBezTo>
                  <a:cubicBezTo>
                    <a:pt x="20" y="24"/>
                    <a:pt x="10" y="25"/>
                    <a:pt x="1" y="24"/>
                  </a:cubicBezTo>
                  <a:cubicBezTo>
                    <a:pt x="2" y="17"/>
                    <a:pt x="0" y="7"/>
                    <a:pt x="2" y="1"/>
                  </a:cubicBezTo>
                  <a:cubicBezTo>
                    <a:pt x="31" y="0"/>
                    <a:pt x="57" y="2"/>
                    <a:pt x="81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000000"/>
                </a:buClr>
                <a:defRPr/>
              </a:pPr>
              <a:endParaRPr lang="ru-RU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4E1EFD0A-8138-4FDE-9544-80CB3D17CA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244" y="1397121"/>
              <a:ext cx="150813" cy="250825"/>
            </a:xfrm>
            <a:custGeom>
              <a:avLst/>
              <a:gdLst>
                <a:gd name="T0" fmla="*/ 83 w 109"/>
                <a:gd name="T1" fmla="*/ 90 h 174"/>
                <a:gd name="T2" fmla="*/ 104 w 109"/>
                <a:gd name="T3" fmla="*/ 119 h 174"/>
                <a:gd name="T4" fmla="*/ 53 w 109"/>
                <a:gd name="T5" fmla="*/ 172 h 174"/>
                <a:gd name="T6" fmla="*/ 1 w 109"/>
                <a:gd name="T7" fmla="*/ 167 h 174"/>
                <a:gd name="T8" fmla="*/ 8 w 109"/>
                <a:gd name="T9" fmla="*/ 143 h 174"/>
                <a:gd name="T10" fmla="*/ 74 w 109"/>
                <a:gd name="T11" fmla="*/ 120 h 174"/>
                <a:gd name="T12" fmla="*/ 14 w 109"/>
                <a:gd name="T13" fmla="*/ 103 h 174"/>
                <a:gd name="T14" fmla="*/ 14 w 109"/>
                <a:gd name="T15" fmla="*/ 79 h 174"/>
                <a:gd name="T16" fmla="*/ 73 w 109"/>
                <a:gd name="T17" fmla="*/ 64 h 174"/>
                <a:gd name="T18" fmla="*/ 43 w 109"/>
                <a:gd name="T19" fmla="*/ 33 h 174"/>
                <a:gd name="T20" fmla="*/ 6 w 109"/>
                <a:gd name="T21" fmla="*/ 38 h 174"/>
                <a:gd name="T22" fmla="*/ 0 w 109"/>
                <a:gd name="T23" fmla="*/ 15 h 174"/>
                <a:gd name="T24" fmla="*/ 103 w 109"/>
                <a:gd name="T25" fmla="*/ 62 h 174"/>
                <a:gd name="T26" fmla="*/ 83 w 109"/>
                <a:gd name="T27" fmla="*/ 9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74">
                  <a:moveTo>
                    <a:pt x="83" y="90"/>
                  </a:moveTo>
                  <a:cubicBezTo>
                    <a:pt x="92" y="98"/>
                    <a:pt x="102" y="106"/>
                    <a:pt x="104" y="119"/>
                  </a:cubicBezTo>
                  <a:cubicBezTo>
                    <a:pt x="108" y="147"/>
                    <a:pt x="84" y="169"/>
                    <a:pt x="53" y="172"/>
                  </a:cubicBezTo>
                  <a:cubicBezTo>
                    <a:pt x="36" y="174"/>
                    <a:pt x="19" y="168"/>
                    <a:pt x="1" y="167"/>
                  </a:cubicBezTo>
                  <a:cubicBezTo>
                    <a:pt x="3" y="158"/>
                    <a:pt x="5" y="151"/>
                    <a:pt x="8" y="143"/>
                  </a:cubicBezTo>
                  <a:cubicBezTo>
                    <a:pt x="36" y="151"/>
                    <a:pt x="83" y="149"/>
                    <a:pt x="74" y="120"/>
                  </a:cubicBezTo>
                  <a:cubicBezTo>
                    <a:pt x="68" y="103"/>
                    <a:pt x="42" y="102"/>
                    <a:pt x="14" y="103"/>
                  </a:cubicBezTo>
                  <a:cubicBezTo>
                    <a:pt x="14" y="95"/>
                    <a:pt x="14" y="87"/>
                    <a:pt x="14" y="79"/>
                  </a:cubicBezTo>
                  <a:cubicBezTo>
                    <a:pt x="40" y="78"/>
                    <a:pt x="67" y="80"/>
                    <a:pt x="73" y="64"/>
                  </a:cubicBezTo>
                  <a:cubicBezTo>
                    <a:pt x="79" y="47"/>
                    <a:pt x="63" y="34"/>
                    <a:pt x="43" y="33"/>
                  </a:cubicBezTo>
                  <a:cubicBezTo>
                    <a:pt x="30" y="32"/>
                    <a:pt x="18" y="37"/>
                    <a:pt x="6" y="38"/>
                  </a:cubicBezTo>
                  <a:cubicBezTo>
                    <a:pt x="5" y="30"/>
                    <a:pt x="3" y="22"/>
                    <a:pt x="0" y="15"/>
                  </a:cubicBezTo>
                  <a:cubicBezTo>
                    <a:pt x="48" y="0"/>
                    <a:pt x="109" y="15"/>
                    <a:pt x="103" y="62"/>
                  </a:cubicBezTo>
                  <a:cubicBezTo>
                    <a:pt x="101" y="75"/>
                    <a:pt x="92" y="82"/>
                    <a:pt x="83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000000"/>
                </a:buClr>
                <a:defRPr/>
              </a:pPr>
              <a:endParaRPr lang="ru-RU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B3160BEC-D82D-4D9F-9BE4-FE1A36CF0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2295" y="1416171"/>
              <a:ext cx="185738" cy="222250"/>
            </a:xfrm>
            <a:custGeom>
              <a:avLst/>
              <a:gdLst>
                <a:gd name="T0" fmla="*/ 0 w 135"/>
                <a:gd name="T1" fmla="*/ 0 h 154"/>
                <a:gd name="T2" fmla="*/ 29 w 135"/>
                <a:gd name="T3" fmla="*/ 5 h 154"/>
                <a:gd name="T4" fmla="*/ 62 w 135"/>
                <a:gd name="T5" fmla="*/ 51 h 154"/>
                <a:gd name="T6" fmla="*/ 88 w 135"/>
                <a:gd name="T7" fmla="*/ 27 h 154"/>
                <a:gd name="T8" fmla="*/ 130 w 135"/>
                <a:gd name="T9" fmla="*/ 70 h 154"/>
                <a:gd name="T10" fmla="*/ 83 w 135"/>
                <a:gd name="T11" fmla="*/ 130 h 154"/>
                <a:gd name="T12" fmla="*/ 69 w 135"/>
                <a:gd name="T13" fmla="*/ 111 h 154"/>
                <a:gd name="T14" fmla="*/ 92 w 135"/>
                <a:gd name="T15" fmla="*/ 60 h 154"/>
                <a:gd name="T16" fmla="*/ 57 w 135"/>
                <a:gd name="T17" fmla="*/ 93 h 154"/>
                <a:gd name="T18" fmla="*/ 28 w 135"/>
                <a:gd name="T19" fmla="*/ 55 h 154"/>
                <a:gd name="T20" fmla="*/ 28 w 135"/>
                <a:gd name="T21" fmla="*/ 149 h 154"/>
                <a:gd name="T22" fmla="*/ 0 w 135"/>
                <a:gd name="T23" fmla="*/ 154 h 154"/>
                <a:gd name="T24" fmla="*/ 0 w 135"/>
                <a:gd name="T2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" h="154">
                  <a:moveTo>
                    <a:pt x="0" y="0"/>
                  </a:moveTo>
                  <a:cubicBezTo>
                    <a:pt x="10" y="1"/>
                    <a:pt x="19" y="4"/>
                    <a:pt x="29" y="5"/>
                  </a:cubicBezTo>
                  <a:cubicBezTo>
                    <a:pt x="39" y="21"/>
                    <a:pt x="51" y="36"/>
                    <a:pt x="62" y="51"/>
                  </a:cubicBezTo>
                  <a:cubicBezTo>
                    <a:pt x="72" y="44"/>
                    <a:pt x="79" y="35"/>
                    <a:pt x="88" y="27"/>
                  </a:cubicBezTo>
                  <a:cubicBezTo>
                    <a:pt x="107" y="37"/>
                    <a:pt x="126" y="48"/>
                    <a:pt x="130" y="70"/>
                  </a:cubicBezTo>
                  <a:cubicBezTo>
                    <a:pt x="135" y="101"/>
                    <a:pt x="107" y="118"/>
                    <a:pt x="83" y="130"/>
                  </a:cubicBezTo>
                  <a:cubicBezTo>
                    <a:pt x="79" y="123"/>
                    <a:pt x="74" y="117"/>
                    <a:pt x="69" y="111"/>
                  </a:cubicBezTo>
                  <a:cubicBezTo>
                    <a:pt x="86" y="101"/>
                    <a:pt x="118" y="78"/>
                    <a:pt x="92" y="60"/>
                  </a:cubicBezTo>
                  <a:cubicBezTo>
                    <a:pt x="79" y="70"/>
                    <a:pt x="70" y="83"/>
                    <a:pt x="57" y="93"/>
                  </a:cubicBezTo>
                  <a:cubicBezTo>
                    <a:pt x="48" y="80"/>
                    <a:pt x="39" y="67"/>
                    <a:pt x="28" y="55"/>
                  </a:cubicBezTo>
                  <a:cubicBezTo>
                    <a:pt x="28" y="86"/>
                    <a:pt x="28" y="117"/>
                    <a:pt x="28" y="149"/>
                  </a:cubicBezTo>
                  <a:cubicBezTo>
                    <a:pt x="18" y="150"/>
                    <a:pt x="10" y="153"/>
                    <a:pt x="0" y="154"/>
                  </a:cubicBezTo>
                  <a:cubicBezTo>
                    <a:pt x="0" y="103"/>
                    <a:pt x="0" y="51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000000"/>
                </a:buClr>
                <a:defRPr/>
              </a:pPr>
              <a:endParaRPr lang="ru-RU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4C0A8BCE-399E-4133-8859-4366F269C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8907" y="1420934"/>
              <a:ext cx="152400" cy="209550"/>
            </a:xfrm>
            <a:custGeom>
              <a:avLst/>
              <a:gdLst>
                <a:gd name="T0" fmla="*/ 109 w 111"/>
                <a:gd name="T1" fmla="*/ 0 h 144"/>
                <a:gd name="T2" fmla="*/ 109 w 111"/>
                <a:gd name="T3" fmla="*/ 1 h 144"/>
                <a:gd name="T4" fmla="*/ 109 w 111"/>
                <a:gd name="T5" fmla="*/ 94 h 144"/>
                <a:gd name="T6" fmla="*/ 109 w 111"/>
                <a:gd name="T7" fmla="*/ 124 h 144"/>
                <a:gd name="T8" fmla="*/ 76 w 111"/>
                <a:gd name="T9" fmla="*/ 140 h 144"/>
                <a:gd name="T10" fmla="*/ 27 w 111"/>
                <a:gd name="T11" fmla="*/ 118 h 144"/>
                <a:gd name="T12" fmla="*/ 42 w 111"/>
                <a:gd name="T13" fmla="*/ 98 h 144"/>
                <a:gd name="T14" fmla="*/ 79 w 111"/>
                <a:gd name="T15" fmla="*/ 114 h 144"/>
                <a:gd name="T16" fmla="*/ 81 w 111"/>
                <a:gd name="T17" fmla="*/ 87 h 144"/>
                <a:gd name="T18" fmla="*/ 27 w 111"/>
                <a:gd name="T19" fmla="*/ 85 h 144"/>
                <a:gd name="T20" fmla="*/ 14 w 111"/>
                <a:gd name="T21" fmla="*/ 42 h 144"/>
                <a:gd name="T22" fmla="*/ 43 w 111"/>
                <a:gd name="T23" fmla="*/ 23 h 144"/>
                <a:gd name="T24" fmla="*/ 57 w 111"/>
                <a:gd name="T25" fmla="*/ 44 h 144"/>
                <a:gd name="T26" fmla="*/ 37 w 111"/>
                <a:gd name="T27" fmla="*/ 59 h 144"/>
                <a:gd name="T28" fmla="*/ 80 w 111"/>
                <a:gd name="T29" fmla="*/ 62 h 144"/>
                <a:gd name="T30" fmla="*/ 81 w 111"/>
                <a:gd name="T31" fmla="*/ 9 h 144"/>
                <a:gd name="T32" fmla="*/ 109 w 111"/>
                <a:gd name="T33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1" h="144">
                  <a:moveTo>
                    <a:pt x="109" y="0"/>
                  </a:moveTo>
                  <a:cubicBezTo>
                    <a:pt x="109" y="0"/>
                    <a:pt x="109" y="0"/>
                    <a:pt x="109" y="1"/>
                  </a:cubicBezTo>
                  <a:cubicBezTo>
                    <a:pt x="109" y="30"/>
                    <a:pt x="109" y="63"/>
                    <a:pt x="109" y="94"/>
                  </a:cubicBezTo>
                  <a:cubicBezTo>
                    <a:pt x="109" y="104"/>
                    <a:pt x="111" y="116"/>
                    <a:pt x="109" y="124"/>
                  </a:cubicBezTo>
                  <a:cubicBezTo>
                    <a:pt x="107" y="134"/>
                    <a:pt x="91" y="144"/>
                    <a:pt x="76" y="140"/>
                  </a:cubicBezTo>
                  <a:cubicBezTo>
                    <a:pt x="60" y="135"/>
                    <a:pt x="45" y="124"/>
                    <a:pt x="27" y="118"/>
                  </a:cubicBezTo>
                  <a:cubicBezTo>
                    <a:pt x="32" y="111"/>
                    <a:pt x="37" y="105"/>
                    <a:pt x="42" y="98"/>
                  </a:cubicBezTo>
                  <a:cubicBezTo>
                    <a:pt x="55" y="103"/>
                    <a:pt x="65" y="110"/>
                    <a:pt x="79" y="114"/>
                  </a:cubicBezTo>
                  <a:cubicBezTo>
                    <a:pt x="83" y="108"/>
                    <a:pt x="80" y="96"/>
                    <a:pt x="81" y="87"/>
                  </a:cubicBezTo>
                  <a:cubicBezTo>
                    <a:pt x="62" y="83"/>
                    <a:pt x="42" y="90"/>
                    <a:pt x="27" y="85"/>
                  </a:cubicBezTo>
                  <a:cubicBezTo>
                    <a:pt x="11" y="79"/>
                    <a:pt x="0" y="58"/>
                    <a:pt x="14" y="42"/>
                  </a:cubicBezTo>
                  <a:cubicBezTo>
                    <a:pt x="22" y="34"/>
                    <a:pt x="34" y="32"/>
                    <a:pt x="43" y="23"/>
                  </a:cubicBezTo>
                  <a:cubicBezTo>
                    <a:pt x="48" y="30"/>
                    <a:pt x="53" y="37"/>
                    <a:pt x="57" y="44"/>
                  </a:cubicBezTo>
                  <a:cubicBezTo>
                    <a:pt x="51" y="49"/>
                    <a:pt x="42" y="52"/>
                    <a:pt x="37" y="59"/>
                  </a:cubicBezTo>
                  <a:cubicBezTo>
                    <a:pt x="43" y="66"/>
                    <a:pt x="66" y="61"/>
                    <a:pt x="80" y="62"/>
                  </a:cubicBezTo>
                  <a:cubicBezTo>
                    <a:pt x="82" y="46"/>
                    <a:pt x="80" y="26"/>
                    <a:pt x="81" y="9"/>
                  </a:cubicBezTo>
                  <a:cubicBezTo>
                    <a:pt x="90" y="6"/>
                    <a:pt x="100" y="4"/>
                    <a:pt x="10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buClr>
                  <a:srgbClr val="000000"/>
                </a:buClr>
                <a:defRPr/>
              </a:pPr>
              <a:endParaRPr lang="ru-RU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D5972FDA-F92B-45F8-B8E2-D1F6894D87CD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2134"/>
          <a:stretch/>
        </p:blipFill>
        <p:spPr>
          <a:xfrm>
            <a:off x="783660" y="3941440"/>
            <a:ext cx="407699" cy="5085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B229285-D473-44AD-8CDB-A65E346D42C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890504" y="3812214"/>
            <a:ext cx="469836" cy="637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4558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657BEDC5-C206-481A-B168-3C14FC978581}"/>
              </a:ext>
            </a:extLst>
          </p:cNvPr>
          <p:cNvSpPr txBox="1"/>
          <p:nvPr/>
        </p:nvSpPr>
        <p:spPr>
          <a:xfrm>
            <a:off x="2224919" y="4559412"/>
            <a:ext cx="2265045" cy="22634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39700" marR="132080" indent="323850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Запуск ЭКГ-20км №1</a:t>
            </a:r>
            <a:endParaRPr sz="1400" dirty="0">
              <a:latin typeface="Candara"/>
              <a:cs typeface="Candara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B70F218A-B866-47E1-BB84-B4C5986F261B}"/>
              </a:ext>
            </a:extLst>
          </p:cNvPr>
          <p:cNvSpPr txBox="1"/>
          <p:nvPr/>
        </p:nvSpPr>
        <p:spPr>
          <a:xfrm>
            <a:off x="4310724" y="462603"/>
            <a:ext cx="2510444" cy="22634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39700" marR="132080" indent="323850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Запуск ЭКГ-20км №1</a:t>
            </a:r>
            <a:endParaRPr lang="ru-RU" sz="1400" dirty="0">
              <a:latin typeface="Candara"/>
              <a:cs typeface="Candara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A88354-9A83-464E-A267-0D12E8AC57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4038" y="688946"/>
            <a:ext cx="4417961" cy="438848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0FBFA70-1B1C-4129-990B-F2BA88397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01" y="579108"/>
            <a:ext cx="4471996" cy="3980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734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657BEDC5-C206-481A-B168-3C14FC978581}"/>
              </a:ext>
            </a:extLst>
          </p:cNvPr>
          <p:cNvSpPr txBox="1"/>
          <p:nvPr/>
        </p:nvSpPr>
        <p:spPr>
          <a:xfrm>
            <a:off x="3021332" y="4633154"/>
            <a:ext cx="2265045" cy="22634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39700" marR="132080" indent="323850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Монтаж ЭШ</a:t>
            </a:r>
            <a:endParaRPr sz="1400" dirty="0">
              <a:latin typeface="Candara"/>
              <a:cs typeface="Candara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B70F218A-B866-47E1-BB84-B4C5986F261B}"/>
              </a:ext>
            </a:extLst>
          </p:cNvPr>
          <p:cNvSpPr txBox="1"/>
          <p:nvPr/>
        </p:nvSpPr>
        <p:spPr>
          <a:xfrm>
            <a:off x="4387645" y="528350"/>
            <a:ext cx="2148205" cy="41870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 indent="635" algn="ctr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Шагающий экскаватор производства УЗТМ</a:t>
            </a:r>
            <a:endParaRPr sz="1400" dirty="0">
              <a:latin typeface="Candara"/>
              <a:cs typeface="Candar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8CFB64-EAED-45F5-9A28-720D2FF6D1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0" y="579108"/>
            <a:ext cx="4417963" cy="38898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8C9B781-A5CB-4ADB-97EF-D4010873D7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54039" y="1111216"/>
            <a:ext cx="4417963" cy="3994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5765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657BEDC5-C206-481A-B168-3C14FC978581}"/>
              </a:ext>
            </a:extLst>
          </p:cNvPr>
          <p:cNvSpPr txBox="1"/>
          <p:nvPr/>
        </p:nvSpPr>
        <p:spPr>
          <a:xfrm>
            <a:off x="2044931" y="4851086"/>
            <a:ext cx="2902233" cy="22634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39700" marR="132080" indent="323850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Обслуживание ЭШ в </a:t>
            </a:r>
            <a:r>
              <a:rPr lang="cs-CZ" sz="1400" b="1" dirty="0">
                <a:solidFill>
                  <a:srgbClr val="9D231F"/>
                </a:solidFill>
                <a:latin typeface="Candara"/>
                <a:cs typeface="Candara"/>
              </a:rPr>
              <a:t>NCL</a:t>
            </a:r>
            <a:endParaRPr sz="1400" dirty="0">
              <a:latin typeface="Candara"/>
              <a:cs typeface="Candara"/>
            </a:endParaRPr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B70F218A-B866-47E1-BB84-B4C5986F261B}"/>
              </a:ext>
            </a:extLst>
          </p:cNvPr>
          <p:cNvSpPr txBox="1"/>
          <p:nvPr/>
        </p:nvSpPr>
        <p:spPr>
          <a:xfrm>
            <a:off x="3497897" y="470916"/>
            <a:ext cx="2148205" cy="22634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2700" marR="5080" indent="635" algn="ctr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ЭШ</a:t>
            </a:r>
            <a:endParaRPr sz="1400" dirty="0">
              <a:latin typeface="Candara"/>
              <a:cs typeface="Candar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4364C00-F3B3-462D-8907-D2CC2A8267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89964" y="794031"/>
            <a:ext cx="4582036" cy="4283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54E6717-BFDA-4CFF-BB67-EEAEDDB5A1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417" y="532015"/>
            <a:ext cx="4312327" cy="4027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2251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657BEDC5-C206-481A-B168-3C14FC978581}"/>
              </a:ext>
            </a:extLst>
          </p:cNvPr>
          <p:cNvSpPr txBox="1"/>
          <p:nvPr/>
        </p:nvSpPr>
        <p:spPr>
          <a:xfrm>
            <a:off x="4411702" y="529778"/>
            <a:ext cx="3984153" cy="22634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39700" marR="132080" indent="323850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ЭКГ-20км №1</a:t>
            </a:r>
            <a:r>
              <a:rPr lang="cs-CZ" sz="1400" b="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запущенная в августе 2022</a:t>
            </a:r>
            <a:endParaRPr sz="1400" dirty="0">
              <a:latin typeface="Candara"/>
              <a:cs typeface="Candara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672D55E-F18F-4860-B05C-0927545B45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1" y="525012"/>
            <a:ext cx="4417963" cy="40934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39BC158-039D-428C-9B3A-AB9814156E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84989" y="756122"/>
            <a:ext cx="4417963" cy="4321308"/>
          </a:xfrm>
          <a:prstGeom prst="rect">
            <a:avLst/>
          </a:prstGeom>
        </p:spPr>
      </p:pic>
      <p:sp>
        <p:nvSpPr>
          <p:cNvPr id="13" name="object 4">
            <a:extLst>
              <a:ext uri="{FF2B5EF4-FFF2-40B4-BE49-F238E27FC236}">
                <a16:creationId xmlns:a16="http://schemas.microsoft.com/office/drawing/2014/main" id="{82C42B69-C5CE-48A1-8B2C-7F78DF3F0F16}"/>
              </a:ext>
            </a:extLst>
          </p:cNvPr>
          <p:cNvSpPr txBox="1"/>
          <p:nvPr/>
        </p:nvSpPr>
        <p:spPr>
          <a:xfrm>
            <a:off x="2280982" y="4851086"/>
            <a:ext cx="3984153" cy="226344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39700" marR="132080" indent="323850">
              <a:lnSpc>
                <a:spcPts val="1540"/>
              </a:lnSpc>
              <a:spcBef>
                <a:spcPts val="265"/>
              </a:spcBef>
            </a:pPr>
            <a:r>
              <a:rPr lang="ru-RU" sz="1400" b="1" dirty="0">
                <a:solidFill>
                  <a:srgbClr val="9D231F"/>
                </a:solidFill>
                <a:latin typeface="Candara"/>
                <a:cs typeface="Candara"/>
              </a:rPr>
              <a:t>Монтаж ЭКГ-20км №2</a:t>
            </a:r>
            <a:endParaRPr sz="1400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9807773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F54321-127E-4903-918A-AAFED9DCEA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16" y="569422"/>
            <a:ext cx="7450312" cy="4260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0605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70574-A031-084B-8211-293E1B77DC1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attention!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DE690B-8A1B-E142-8B6A-4FD42065620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2886" y="1721814"/>
            <a:ext cx="3581400" cy="1752906"/>
          </a:xfrm>
        </p:spPr>
        <p:txBody>
          <a:bodyPr>
            <a:normAutofit lnSpcReduction="10000"/>
          </a:bodyPr>
          <a:lstStyle/>
          <a:p>
            <a:pPr algn="l"/>
            <a:r>
              <a:rPr lang="en-US" dirty="0"/>
              <a:t>UZTM-KARTEX Managing company</a:t>
            </a:r>
          </a:p>
          <a:p>
            <a:pPr algn="l"/>
            <a:r>
              <a:rPr lang="en-US" dirty="0"/>
              <a:t>123112, Moscow</a:t>
            </a:r>
            <a:r>
              <a:rPr lang="ru-RU" dirty="0"/>
              <a:t> </a:t>
            </a:r>
            <a:r>
              <a:rPr lang="en-US" dirty="0"/>
              <a:t>1st </a:t>
            </a:r>
            <a:r>
              <a:rPr lang="en-US" dirty="0" err="1"/>
              <a:t>Krasnogvardeysky</a:t>
            </a:r>
            <a:r>
              <a:rPr lang="en-US" dirty="0"/>
              <a:t> </a:t>
            </a:r>
            <a:r>
              <a:rPr lang="en-US" dirty="0" err="1"/>
              <a:t>proezd</a:t>
            </a:r>
            <a:r>
              <a:rPr lang="en-US" dirty="0"/>
              <a:t>, 15, floor 34 </a:t>
            </a:r>
          </a:p>
          <a:p>
            <a:pPr algn="l"/>
            <a:r>
              <a:rPr lang="en-US" dirty="0"/>
              <a:t>(Moscow-City, Mercury Tower)</a:t>
            </a:r>
          </a:p>
          <a:p>
            <a:pPr algn="l"/>
            <a:r>
              <a:rPr lang="en-US" dirty="0"/>
              <a:t> </a:t>
            </a:r>
          </a:p>
          <a:p>
            <a:pPr algn="l"/>
            <a:r>
              <a:rPr lang="en-US" dirty="0"/>
              <a:t>info@uralmash-kartex.ru </a:t>
            </a:r>
            <a:br>
              <a:rPr lang="en-US" dirty="0"/>
            </a:br>
            <a:r>
              <a:rPr lang="en-US" dirty="0"/>
              <a:t>www. uralmash-kartex.ru</a:t>
            </a:r>
          </a:p>
          <a:p>
            <a:pPr algn="l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45892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Geograf1"/>
          <p:cNvPicPr>
            <a:picLocks noChangeAspect="1" noChangeArrowheads="1"/>
          </p:cNvPicPr>
          <p:nvPr/>
        </p:nvPicPr>
        <p:blipFill rotWithShape="1">
          <a:blip r:embed="rId4" cstate="email">
            <a:lum bright="1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2063"/>
          <a:stretch/>
        </p:blipFill>
        <p:spPr bwMode="auto">
          <a:xfrm>
            <a:off x="884237" y="456361"/>
            <a:ext cx="8188325" cy="4382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18" progId="TCLayout.ActiveDocument.1">
                  <p:embed/>
                </p:oleObj>
              </mc:Choice>
              <mc:Fallback>
                <p:oleObj name="think-cell Slide" r:id="rId5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r>
              <a:rPr lang="en-US" sz="1800" dirty="0">
                <a:sym typeface="Arial"/>
              </a:rPr>
              <a:t>MARKETS</a:t>
            </a:r>
          </a:p>
        </p:txBody>
      </p:sp>
      <p:sp>
        <p:nvSpPr>
          <p:cNvPr id="24" name="Rectangle 5"/>
          <p:cNvSpPr>
            <a:spLocks noChangeArrowheads="1"/>
          </p:cNvSpPr>
          <p:nvPr/>
        </p:nvSpPr>
        <p:spPr bwMode="auto">
          <a:xfrm>
            <a:off x="2047875" y="1273924"/>
            <a:ext cx="92551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Poland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26" name="Rectangle 6"/>
          <p:cNvSpPr>
            <a:spLocks noChangeArrowheads="1"/>
          </p:cNvSpPr>
          <p:nvPr/>
        </p:nvSpPr>
        <p:spPr bwMode="auto">
          <a:xfrm>
            <a:off x="7416800" y="2370886"/>
            <a:ext cx="809625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S. Kore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27" name="Rectangle 8"/>
          <p:cNvSpPr>
            <a:spLocks noChangeArrowheads="1"/>
          </p:cNvSpPr>
          <p:nvPr/>
        </p:nvSpPr>
        <p:spPr bwMode="auto">
          <a:xfrm>
            <a:off x="4352925" y="856411"/>
            <a:ext cx="966787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400" b="1" dirty="0">
                <a:latin typeface="Arial" pitchFamily="34" charset="0"/>
              </a:rPr>
              <a:t>Russia</a:t>
            </a:r>
            <a:endParaRPr lang="ru-RU" altLang="ru-RU" sz="1400" b="1" dirty="0">
              <a:latin typeface="Arial" pitchFamily="34" charset="0"/>
            </a:endParaRPr>
          </a:p>
        </p:txBody>
      </p:sp>
      <p:sp>
        <p:nvSpPr>
          <p:cNvPr id="32" name="Oval 13"/>
          <p:cNvSpPr>
            <a:spLocks noChangeArrowheads="1"/>
          </p:cNvSpPr>
          <p:nvPr/>
        </p:nvSpPr>
        <p:spPr bwMode="auto">
          <a:xfrm>
            <a:off x="7721600" y="234072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946275" y="3620249"/>
            <a:ext cx="96520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Niger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42" name="Rectangle 18"/>
          <p:cNvSpPr>
            <a:spLocks noChangeArrowheads="1"/>
          </p:cNvSpPr>
          <p:nvPr/>
        </p:nvSpPr>
        <p:spPr bwMode="auto">
          <a:xfrm>
            <a:off x="6619875" y="2686799"/>
            <a:ext cx="80645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Chin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43" name="Rectangle 20"/>
          <p:cNvSpPr>
            <a:spLocks noChangeArrowheads="1"/>
          </p:cNvSpPr>
          <p:nvPr/>
        </p:nvSpPr>
        <p:spPr bwMode="auto">
          <a:xfrm>
            <a:off x="5310187" y="3145586"/>
            <a:ext cx="836613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Ind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44" name="Text Box 22"/>
          <p:cNvSpPr txBox="1">
            <a:spLocks noChangeArrowheads="1"/>
          </p:cNvSpPr>
          <p:nvPr/>
        </p:nvSpPr>
        <p:spPr bwMode="auto">
          <a:xfrm>
            <a:off x="1787525" y="2247061"/>
            <a:ext cx="966787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endParaRPr lang="ru-RU" altLang="ru-RU" sz="1200" b="1">
              <a:latin typeface="Arial" pitchFamily="34" charset="0"/>
            </a:endParaRPr>
          </a:p>
        </p:txBody>
      </p:sp>
      <p:sp>
        <p:nvSpPr>
          <p:cNvPr id="46" name="Text Box 25"/>
          <p:cNvSpPr txBox="1">
            <a:spLocks noChangeArrowheads="1"/>
          </p:cNvSpPr>
          <p:nvPr/>
        </p:nvSpPr>
        <p:spPr bwMode="auto">
          <a:xfrm>
            <a:off x="1347787" y="1585074"/>
            <a:ext cx="104775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Germany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47" name="Text Box 26"/>
          <p:cNvSpPr txBox="1">
            <a:spLocks noChangeArrowheads="1"/>
          </p:cNvSpPr>
          <p:nvPr/>
        </p:nvSpPr>
        <p:spPr bwMode="auto">
          <a:xfrm>
            <a:off x="252412" y="2151811"/>
            <a:ext cx="64770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Cub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48" name="Text Box 29"/>
          <p:cNvSpPr txBox="1">
            <a:spLocks noChangeArrowheads="1"/>
          </p:cNvSpPr>
          <p:nvPr/>
        </p:nvSpPr>
        <p:spPr bwMode="auto">
          <a:xfrm>
            <a:off x="1725612" y="1759699"/>
            <a:ext cx="831850" cy="261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Czech R.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49" name="Rectangle 31"/>
          <p:cNvSpPr>
            <a:spLocks noChangeArrowheads="1"/>
          </p:cNvSpPr>
          <p:nvPr/>
        </p:nvSpPr>
        <p:spPr bwMode="auto">
          <a:xfrm>
            <a:off x="1577975" y="2505824"/>
            <a:ext cx="76041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Alger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0" name="Rectangle 33"/>
          <p:cNvSpPr>
            <a:spLocks noChangeArrowheads="1"/>
          </p:cNvSpPr>
          <p:nvPr/>
        </p:nvSpPr>
        <p:spPr bwMode="auto">
          <a:xfrm>
            <a:off x="7777162" y="2191499"/>
            <a:ext cx="808038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Japan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1" name="Rectangle 35"/>
          <p:cNvSpPr>
            <a:spLocks noChangeArrowheads="1"/>
          </p:cNvSpPr>
          <p:nvPr/>
        </p:nvSpPr>
        <p:spPr bwMode="auto">
          <a:xfrm>
            <a:off x="2263775" y="815136"/>
            <a:ext cx="1163637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Finland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2" name="Text Box 37"/>
          <p:cNvSpPr txBox="1">
            <a:spLocks noChangeArrowheads="1"/>
          </p:cNvSpPr>
          <p:nvPr/>
        </p:nvSpPr>
        <p:spPr bwMode="auto">
          <a:xfrm>
            <a:off x="4445000" y="2582024"/>
            <a:ext cx="611187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Iran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3" name="Rectangle 55"/>
          <p:cNvSpPr>
            <a:spLocks noChangeArrowheads="1"/>
          </p:cNvSpPr>
          <p:nvPr/>
        </p:nvSpPr>
        <p:spPr bwMode="auto">
          <a:xfrm>
            <a:off x="6562725" y="1942261"/>
            <a:ext cx="992187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Mongol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4" name="Rectangle 79"/>
          <p:cNvSpPr>
            <a:spLocks noChangeArrowheads="1"/>
          </p:cNvSpPr>
          <p:nvPr/>
        </p:nvSpPr>
        <p:spPr bwMode="auto">
          <a:xfrm>
            <a:off x="2687637" y="2283574"/>
            <a:ext cx="96520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Turkey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5" name="Text Box 81"/>
          <p:cNvSpPr txBox="1">
            <a:spLocks noChangeArrowheads="1"/>
          </p:cNvSpPr>
          <p:nvPr/>
        </p:nvSpPr>
        <p:spPr bwMode="auto">
          <a:xfrm>
            <a:off x="4505325" y="2302624"/>
            <a:ext cx="120491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Uzbekistan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6" name="Text Box 26"/>
          <p:cNvSpPr txBox="1">
            <a:spLocks noChangeArrowheads="1"/>
          </p:cNvSpPr>
          <p:nvPr/>
        </p:nvSpPr>
        <p:spPr bwMode="auto">
          <a:xfrm>
            <a:off x="252412" y="1164386"/>
            <a:ext cx="646113" cy="261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US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57" name="Oval 13"/>
          <p:cNvSpPr>
            <a:spLocks noChangeArrowheads="1"/>
          </p:cNvSpPr>
          <p:nvPr/>
        </p:nvSpPr>
        <p:spPr bwMode="auto">
          <a:xfrm>
            <a:off x="7993062" y="215181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58" name="Oval 13"/>
          <p:cNvSpPr>
            <a:spLocks noChangeArrowheads="1"/>
          </p:cNvSpPr>
          <p:nvPr/>
        </p:nvSpPr>
        <p:spPr bwMode="auto">
          <a:xfrm>
            <a:off x="6931025" y="2642349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59" name="Oval 13"/>
          <p:cNvSpPr>
            <a:spLocks noChangeArrowheads="1"/>
          </p:cNvSpPr>
          <p:nvPr/>
        </p:nvSpPr>
        <p:spPr bwMode="auto">
          <a:xfrm>
            <a:off x="6534150" y="193432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0" name="Oval 13"/>
          <p:cNvSpPr>
            <a:spLocks noChangeArrowheads="1"/>
          </p:cNvSpPr>
          <p:nvPr/>
        </p:nvSpPr>
        <p:spPr bwMode="auto">
          <a:xfrm>
            <a:off x="5602287" y="3088436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1" name="Oval 13"/>
          <p:cNvSpPr>
            <a:spLocks noChangeArrowheads="1"/>
          </p:cNvSpPr>
          <p:nvPr/>
        </p:nvSpPr>
        <p:spPr bwMode="auto">
          <a:xfrm>
            <a:off x="4383087" y="95166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2" name="Oval 13"/>
          <p:cNvSpPr>
            <a:spLocks noChangeArrowheads="1"/>
          </p:cNvSpPr>
          <p:nvPr/>
        </p:nvSpPr>
        <p:spPr bwMode="auto">
          <a:xfrm>
            <a:off x="4933950" y="2248649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3" name="Oval 13"/>
          <p:cNvSpPr>
            <a:spLocks noChangeArrowheads="1"/>
          </p:cNvSpPr>
          <p:nvPr/>
        </p:nvSpPr>
        <p:spPr bwMode="auto">
          <a:xfrm>
            <a:off x="4386262" y="265822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4" name="Oval 13"/>
          <p:cNvSpPr>
            <a:spLocks noChangeArrowheads="1"/>
          </p:cNvSpPr>
          <p:nvPr/>
        </p:nvSpPr>
        <p:spPr bwMode="auto">
          <a:xfrm>
            <a:off x="3529012" y="244391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5" name="Rectangle 39"/>
          <p:cNvSpPr>
            <a:spLocks noChangeArrowheads="1"/>
          </p:cNvSpPr>
          <p:nvPr/>
        </p:nvSpPr>
        <p:spPr bwMode="auto">
          <a:xfrm>
            <a:off x="3527425" y="2435974"/>
            <a:ext cx="68580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Syr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66" name="Oval 13"/>
          <p:cNvSpPr>
            <a:spLocks noChangeArrowheads="1"/>
          </p:cNvSpPr>
          <p:nvPr/>
        </p:nvSpPr>
        <p:spPr bwMode="auto">
          <a:xfrm>
            <a:off x="3022600" y="2712199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7" name="Oval 13"/>
          <p:cNvSpPr>
            <a:spLocks noChangeArrowheads="1"/>
          </p:cNvSpPr>
          <p:nvPr/>
        </p:nvSpPr>
        <p:spPr bwMode="auto">
          <a:xfrm>
            <a:off x="3073400" y="223277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8" name="Oval 13"/>
          <p:cNvSpPr>
            <a:spLocks noChangeArrowheads="1"/>
          </p:cNvSpPr>
          <p:nvPr/>
        </p:nvSpPr>
        <p:spPr bwMode="auto">
          <a:xfrm>
            <a:off x="1619250" y="250582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69" name="Oval 13"/>
          <p:cNvSpPr>
            <a:spLocks noChangeArrowheads="1"/>
          </p:cNvSpPr>
          <p:nvPr/>
        </p:nvSpPr>
        <p:spPr bwMode="auto">
          <a:xfrm>
            <a:off x="2960687" y="1970836"/>
            <a:ext cx="107950" cy="109538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70" name="Rectangle 83"/>
          <p:cNvSpPr>
            <a:spLocks noChangeArrowheads="1"/>
          </p:cNvSpPr>
          <p:nvPr/>
        </p:nvSpPr>
        <p:spPr bwMode="auto">
          <a:xfrm>
            <a:off x="2890837" y="1934324"/>
            <a:ext cx="107315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Bulgary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71" name="Oval 13"/>
          <p:cNvSpPr>
            <a:spLocks noChangeArrowheads="1"/>
          </p:cNvSpPr>
          <p:nvPr/>
        </p:nvSpPr>
        <p:spPr bwMode="auto">
          <a:xfrm>
            <a:off x="2011362" y="364247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72" name="Rectangle 4"/>
          <p:cNvSpPr>
            <a:spLocks noChangeArrowheads="1"/>
          </p:cNvSpPr>
          <p:nvPr/>
        </p:nvSpPr>
        <p:spPr bwMode="auto">
          <a:xfrm>
            <a:off x="2676525" y="2743949"/>
            <a:ext cx="762000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Egypt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73" name="Oval 13"/>
          <p:cNvSpPr>
            <a:spLocks noChangeArrowheads="1"/>
          </p:cNvSpPr>
          <p:nvPr/>
        </p:nvSpPr>
        <p:spPr bwMode="auto">
          <a:xfrm>
            <a:off x="3163887" y="169937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74" name="Oval 13"/>
          <p:cNvSpPr>
            <a:spLocks noChangeArrowheads="1"/>
          </p:cNvSpPr>
          <p:nvPr/>
        </p:nvSpPr>
        <p:spPr bwMode="auto">
          <a:xfrm>
            <a:off x="2333625" y="174382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75" name="Oval 13"/>
          <p:cNvSpPr>
            <a:spLocks noChangeArrowheads="1"/>
          </p:cNvSpPr>
          <p:nvPr/>
        </p:nvSpPr>
        <p:spPr bwMode="auto">
          <a:xfrm>
            <a:off x="2782887" y="102151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76" name="Oval 13"/>
          <p:cNvSpPr>
            <a:spLocks noChangeArrowheads="1"/>
          </p:cNvSpPr>
          <p:nvPr/>
        </p:nvSpPr>
        <p:spPr bwMode="auto">
          <a:xfrm>
            <a:off x="2836862" y="1454899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78" name="Rectangle 41"/>
          <p:cNvSpPr>
            <a:spLocks noChangeArrowheads="1"/>
          </p:cNvSpPr>
          <p:nvPr/>
        </p:nvSpPr>
        <p:spPr bwMode="auto">
          <a:xfrm>
            <a:off x="2576512" y="1483474"/>
            <a:ext cx="1208088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Beloruss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79" name="Oval 13"/>
          <p:cNvSpPr>
            <a:spLocks noChangeArrowheads="1"/>
          </p:cNvSpPr>
          <p:nvPr/>
        </p:nvSpPr>
        <p:spPr bwMode="auto">
          <a:xfrm>
            <a:off x="2209800" y="156126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80" name="Oval 13"/>
          <p:cNvSpPr>
            <a:spLocks noChangeArrowheads="1"/>
          </p:cNvSpPr>
          <p:nvPr/>
        </p:nvSpPr>
        <p:spPr bwMode="auto">
          <a:xfrm>
            <a:off x="2574925" y="146601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81" name="Oval 13"/>
          <p:cNvSpPr>
            <a:spLocks noChangeArrowheads="1"/>
          </p:cNvSpPr>
          <p:nvPr/>
        </p:nvSpPr>
        <p:spPr bwMode="auto">
          <a:xfrm>
            <a:off x="522287" y="238041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82" name="Oval 13"/>
          <p:cNvSpPr>
            <a:spLocks noChangeArrowheads="1"/>
          </p:cNvSpPr>
          <p:nvPr/>
        </p:nvSpPr>
        <p:spPr bwMode="auto">
          <a:xfrm>
            <a:off x="363537" y="2528049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83" name="Oval 13"/>
          <p:cNvSpPr>
            <a:spLocks noChangeArrowheads="1"/>
          </p:cNvSpPr>
          <p:nvPr/>
        </p:nvSpPr>
        <p:spPr bwMode="auto">
          <a:xfrm>
            <a:off x="363537" y="138346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84" name="Oval 13"/>
          <p:cNvSpPr>
            <a:spLocks noChangeArrowheads="1"/>
          </p:cNvSpPr>
          <p:nvPr/>
        </p:nvSpPr>
        <p:spPr bwMode="auto">
          <a:xfrm>
            <a:off x="2578100" y="196766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85" name="Rectangle 80"/>
          <p:cNvSpPr>
            <a:spLocks noChangeArrowheads="1"/>
          </p:cNvSpPr>
          <p:nvPr/>
        </p:nvSpPr>
        <p:spPr bwMode="auto">
          <a:xfrm>
            <a:off x="2506662" y="1715249"/>
            <a:ext cx="1031875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Ukrain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86" name="Rectangle 7"/>
          <p:cNvSpPr>
            <a:spLocks noChangeArrowheads="1"/>
          </p:cNvSpPr>
          <p:nvPr/>
        </p:nvSpPr>
        <p:spPr bwMode="auto">
          <a:xfrm>
            <a:off x="2089150" y="1988299"/>
            <a:ext cx="763587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Serb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87" name="Text Box 26"/>
          <p:cNvSpPr txBox="1">
            <a:spLocks noChangeArrowheads="1"/>
          </p:cNvSpPr>
          <p:nvPr/>
        </p:nvSpPr>
        <p:spPr bwMode="auto">
          <a:xfrm>
            <a:off x="244475" y="2601074"/>
            <a:ext cx="9826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7" tIns="45684" rIns="91377" bIns="45684">
            <a:spAutoFit/>
          </a:bodyPr>
          <a:lstStyle>
            <a:lvl1pPr defTabSz="7620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76200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7620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7620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7620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Guatemal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88" name="Oval 13"/>
          <p:cNvSpPr>
            <a:spLocks noChangeArrowheads="1"/>
          </p:cNvSpPr>
          <p:nvPr/>
        </p:nvSpPr>
        <p:spPr bwMode="auto">
          <a:xfrm>
            <a:off x="7767637" y="3955211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89" name="Rectangle 18"/>
          <p:cNvSpPr>
            <a:spLocks noChangeArrowheads="1"/>
          </p:cNvSpPr>
          <p:nvPr/>
        </p:nvSpPr>
        <p:spPr bwMode="auto">
          <a:xfrm>
            <a:off x="7610475" y="3723436"/>
            <a:ext cx="112395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Indonesia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90" name="Oval 13"/>
          <p:cNvSpPr>
            <a:spLocks noChangeArrowheads="1"/>
          </p:cNvSpPr>
          <p:nvPr/>
        </p:nvSpPr>
        <p:spPr bwMode="auto">
          <a:xfrm>
            <a:off x="7053262" y="364247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sp>
        <p:nvSpPr>
          <p:cNvPr id="91" name="Rectangle 18"/>
          <p:cNvSpPr>
            <a:spLocks noChangeArrowheads="1"/>
          </p:cNvSpPr>
          <p:nvPr/>
        </p:nvSpPr>
        <p:spPr bwMode="auto">
          <a:xfrm>
            <a:off x="6400800" y="3677399"/>
            <a:ext cx="1123950" cy="261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Vietnam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92" name="Rectangle 82"/>
          <p:cNvSpPr>
            <a:spLocks noChangeArrowheads="1"/>
          </p:cNvSpPr>
          <p:nvPr/>
        </p:nvSpPr>
        <p:spPr bwMode="auto">
          <a:xfrm>
            <a:off x="4818062" y="1797799"/>
            <a:ext cx="1122363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100" b="1">
                <a:latin typeface="Arial" pitchFamily="34" charset="0"/>
              </a:rPr>
              <a:t>Kazakhstan </a:t>
            </a:r>
            <a:endParaRPr lang="ru-RU" altLang="ru-RU" sz="1100" b="1">
              <a:latin typeface="Arial" pitchFamily="34" charset="0"/>
            </a:endParaRPr>
          </a:p>
        </p:txBody>
      </p:sp>
      <p:sp>
        <p:nvSpPr>
          <p:cNvPr id="93" name="Oval 13"/>
          <p:cNvSpPr>
            <a:spLocks noChangeArrowheads="1"/>
          </p:cNvSpPr>
          <p:nvPr/>
        </p:nvSpPr>
        <p:spPr bwMode="auto">
          <a:xfrm>
            <a:off x="4902200" y="1851774"/>
            <a:ext cx="107950" cy="107950"/>
          </a:xfrm>
          <a:prstGeom prst="ellipse">
            <a:avLst/>
          </a:prstGeom>
          <a:solidFill>
            <a:srgbClr val="FFFF00"/>
          </a:solidFill>
          <a:ln w="12700">
            <a:solidFill>
              <a:srgbClr val="3366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itchFamily="34" charset="0"/>
            </a:endParaRPr>
          </a:p>
        </p:txBody>
      </p:sp>
      <p:pic>
        <p:nvPicPr>
          <p:cNvPr id="94" name="Рисунок 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672"/>
          <a:stretch>
            <a:fillRect/>
          </a:stretch>
        </p:blipFill>
        <p:spPr bwMode="auto">
          <a:xfrm>
            <a:off x="3173411" y="659103"/>
            <a:ext cx="42703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" name="Рисунок 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" t="2" r="71237" b="3583"/>
          <a:stretch>
            <a:fillRect/>
          </a:stretch>
        </p:blipFill>
        <p:spPr bwMode="auto">
          <a:xfrm>
            <a:off x="4290813" y="1334249"/>
            <a:ext cx="48895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Рисунок 70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3152" y="684552"/>
            <a:ext cx="28257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8" name="TextBox 3"/>
          <p:cNvSpPr txBox="1">
            <a:spLocks noChangeArrowheads="1"/>
          </p:cNvSpPr>
          <p:nvPr/>
        </p:nvSpPr>
        <p:spPr bwMode="auto">
          <a:xfrm>
            <a:off x="3600449" y="4256150"/>
            <a:ext cx="5322888" cy="30008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b="1">
                <a:solidFill>
                  <a:schemeClr val="accent1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baseline="0"/>
            </a:lvl2pPr>
            <a:lvl3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baseline="0"/>
            </a:lvl3pPr>
            <a:lvl4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aseline="0"/>
            </a:lvl4pPr>
            <a:lvl5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aseline="0"/>
            </a:lvl5pPr>
            <a:lvl6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6pPr>
            <a:lvl7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7pPr>
            <a:lvl8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8pPr>
            <a:lvl9pPr indent="0" algn="ctr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/>
            </a:lvl9pPr>
          </a:lstStyle>
          <a:p>
            <a:r>
              <a:rPr lang="en-US" altLang="ru-RU" dirty="0">
                <a:solidFill>
                  <a:srgbClr val="AD3338"/>
                </a:solidFill>
              </a:rPr>
              <a:t>Our equipment is in operation in more that 40 countries worldwide</a:t>
            </a:r>
            <a:endParaRPr lang="ru-RU" altLang="ru-RU" dirty="0">
              <a:solidFill>
                <a:srgbClr val="AD3338"/>
              </a:solidFill>
            </a:endParaRPr>
          </a:p>
        </p:txBody>
      </p:sp>
      <p:sp>
        <p:nvSpPr>
          <p:cNvPr id="96" name="Rectangle 8"/>
          <p:cNvSpPr>
            <a:spLocks noChangeArrowheads="1"/>
          </p:cNvSpPr>
          <p:nvPr/>
        </p:nvSpPr>
        <p:spPr bwMode="auto">
          <a:xfrm>
            <a:off x="3524250" y="1262402"/>
            <a:ext cx="966787" cy="262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050" b="1" dirty="0">
                <a:latin typeface="Arial" pitchFamily="34" charset="0"/>
              </a:rPr>
              <a:t>Moscow</a:t>
            </a:r>
            <a:endParaRPr lang="ru-RU" altLang="ru-RU" sz="1050" b="1" dirty="0">
              <a:latin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73041" y="1142956"/>
            <a:ext cx="470693" cy="470693"/>
          </a:xfrm>
          <a:prstGeom prst="rect">
            <a:avLst/>
          </a:prstGeom>
        </p:spPr>
      </p:pic>
      <p:sp>
        <p:nvSpPr>
          <p:cNvPr id="98" name="Rectangle 8">
            <a:extLst>
              <a:ext uri="{FF2B5EF4-FFF2-40B4-BE49-F238E27FC236}">
                <a16:creationId xmlns:a16="http://schemas.microsoft.com/office/drawing/2014/main" id="{D9412744-F04A-41BB-A48E-BDF9268F0F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9460" y="979509"/>
            <a:ext cx="1204912" cy="254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050" b="1" dirty="0">
                <a:latin typeface="Arial" pitchFamily="34" charset="0"/>
              </a:rPr>
              <a:t>St. Petersburg</a:t>
            </a:r>
            <a:endParaRPr lang="ru-RU" altLang="ru-RU" sz="1050" b="1" dirty="0">
              <a:latin typeface="Arial" pitchFamily="34" charset="0"/>
            </a:endParaRPr>
          </a:p>
        </p:txBody>
      </p:sp>
      <p:sp>
        <p:nvSpPr>
          <p:cNvPr id="99" name="Rectangle 8">
            <a:extLst>
              <a:ext uri="{FF2B5EF4-FFF2-40B4-BE49-F238E27FC236}">
                <a16:creationId xmlns:a16="http://schemas.microsoft.com/office/drawing/2014/main" id="{08E0CDBA-D808-4F7F-A418-3862EFA91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6425" y="1560354"/>
            <a:ext cx="1204912" cy="254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12" tIns="46002" rIns="92012" bIns="46002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n-US" altLang="ru-RU" sz="1050" b="1" dirty="0">
                <a:latin typeface="Arial" pitchFamily="34" charset="0"/>
              </a:rPr>
              <a:t>Ekaterinburg</a:t>
            </a:r>
            <a:endParaRPr lang="ru-RU" altLang="ru-RU" sz="1050" b="1" dirty="0">
              <a:latin typeface="Arial" pitchFamily="34" charset="0"/>
            </a:endParaRPr>
          </a:p>
        </p:txBody>
      </p:sp>
      <p:sp>
        <p:nvSpPr>
          <p:cNvPr id="4" name="Звезда: 5 точек 3">
            <a:extLst>
              <a:ext uri="{FF2B5EF4-FFF2-40B4-BE49-F238E27FC236}">
                <a16:creationId xmlns:a16="http://schemas.microsoft.com/office/drawing/2014/main" id="{33D13790-33F6-4C76-BC39-6432F261AAFC}"/>
              </a:ext>
            </a:extLst>
          </p:cNvPr>
          <p:cNvSpPr/>
          <p:nvPr/>
        </p:nvSpPr>
        <p:spPr>
          <a:xfrm>
            <a:off x="3299460" y="1038181"/>
            <a:ext cx="128191" cy="12138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Звезда: 5 точек 99">
            <a:extLst>
              <a:ext uri="{FF2B5EF4-FFF2-40B4-BE49-F238E27FC236}">
                <a16:creationId xmlns:a16="http://schemas.microsoft.com/office/drawing/2014/main" id="{E00BBCE7-DCD8-4191-BF6C-A70559CEA1AF}"/>
              </a:ext>
            </a:extLst>
          </p:cNvPr>
          <p:cNvSpPr/>
          <p:nvPr/>
        </p:nvSpPr>
        <p:spPr>
          <a:xfrm>
            <a:off x="3750072" y="1466867"/>
            <a:ext cx="128191" cy="12138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Звезда: 5 точек 100">
            <a:extLst>
              <a:ext uri="{FF2B5EF4-FFF2-40B4-BE49-F238E27FC236}">
                <a16:creationId xmlns:a16="http://schemas.microsoft.com/office/drawing/2014/main" id="{E417EB8F-004D-41F1-849A-6B1D4D6BC6E2}"/>
              </a:ext>
            </a:extLst>
          </p:cNvPr>
          <p:cNvSpPr/>
          <p:nvPr/>
        </p:nvSpPr>
        <p:spPr>
          <a:xfrm>
            <a:off x="4440276" y="1610019"/>
            <a:ext cx="128191" cy="121382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1990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102" name="object 3">
            <a:extLst>
              <a:ext uri="{FF2B5EF4-FFF2-40B4-BE49-F238E27FC236}">
                <a16:creationId xmlns:a16="http://schemas.microsoft.com/office/drawing/2014/main" id="{3E53C1CD-E050-4A40-9572-4CB2EB193555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2384754" y="449521"/>
            <a:ext cx="4410076" cy="2222050"/>
          </a:xfrm>
          <a:prstGeom prst="rect">
            <a:avLst/>
          </a:prstGeom>
        </p:spPr>
      </p:pic>
      <p:sp>
        <p:nvSpPr>
          <p:cNvPr id="103" name="object 2">
            <a:extLst>
              <a:ext uri="{FF2B5EF4-FFF2-40B4-BE49-F238E27FC236}">
                <a16:creationId xmlns:a16="http://schemas.microsoft.com/office/drawing/2014/main" id="{FFE69409-F614-4FC5-AD56-0534519394BE}"/>
              </a:ext>
            </a:extLst>
          </p:cNvPr>
          <p:cNvSpPr txBox="1"/>
          <p:nvPr/>
        </p:nvSpPr>
        <p:spPr>
          <a:xfrm>
            <a:off x="2549648" y="3175847"/>
            <a:ext cx="4041775" cy="1046083"/>
          </a:xfrm>
          <a:prstGeom prst="rect">
            <a:avLst/>
          </a:prstGeom>
        </p:spPr>
        <p:txBody>
          <a:bodyPr vert="horz" wrap="square" lIns="0" tIns="23585" rIns="0" bIns="0" rtlCol="0">
            <a:spAutoFit/>
          </a:bodyPr>
          <a:lstStyle/>
          <a:p>
            <a:pPr marL="9072" marR="3629" indent="205472">
              <a:lnSpc>
                <a:spcPts val="1286"/>
              </a:lnSpc>
              <a:spcBef>
                <a:spcPts val="185"/>
              </a:spcBef>
            </a:pP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Посещение</a:t>
            </a:r>
            <a:r>
              <a:rPr sz="1143" b="1" i="1" spc="5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этого</a:t>
            </a:r>
            <a:r>
              <a:rPr sz="1143" b="1" i="1" spc="5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величественного</a:t>
            </a:r>
            <a:r>
              <a:rPr sz="1143" b="1" i="1" spc="5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завода</a:t>
            </a:r>
            <a:r>
              <a:rPr sz="1143" b="1" i="1" spc="5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было</a:t>
            </a:r>
            <a:r>
              <a:rPr sz="1143" b="1" i="1" spc="5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для</a:t>
            </a:r>
            <a:r>
              <a:rPr sz="1143" b="1" i="1" spc="5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нас </a:t>
            </a:r>
            <a:r>
              <a:rPr sz="1143" b="1" i="1" spc="-232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очень</a:t>
            </a:r>
            <a:r>
              <a:rPr sz="1143" b="1" i="1" spc="-32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интересно</a:t>
            </a:r>
            <a:r>
              <a:rPr sz="1143" b="1" i="1" spc="-29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spc="-4" dirty="0">
                <a:solidFill>
                  <a:srgbClr val="9D231F"/>
                </a:solidFill>
                <a:latin typeface="Candara"/>
                <a:cs typeface="Candara"/>
              </a:rPr>
              <a:t>и</a:t>
            </a:r>
            <a:r>
              <a:rPr sz="1143" b="1" i="1" spc="-25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поучительно.</a:t>
            </a:r>
            <a:endParaRPr sz="1143" dirty="0">
              <a:latin typeface="Candara"/>
              <a:cs typeface="Candara"/>
            </a:endParaRPr>
          </a:p>
          <a:p>
            <a:pPr marL="9072" marR="3629" indent="205472">
              <a:lnSpc>
                <a:spcPts val="1286"/>
              </a:lnSpc>
              <a:spcBef>
                <a:spcPts val="261"/>
              </a:spcBef>
              <a:tabLst>
                <a:tab pos="967487" algn="l"/>
                <a:tab pos="1306312" algn="l"/>
                <a:tab pos="2092367" algn="l"/>
                <a:tab pos="2757316" algn="l"/>
                <a:tab pos="3108841" algn="l"/>
                <a:tab pos="3784222" algn="l"/>
              </a:tabLst>
            </a:pP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Директор	был	настолько	любезен,	что	обьяснил	нам  действие</a:t>
            </a:r>
            <a:r>
              <a:rPr sz="1143" b="1" i="1" spc="-36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огромных</a:t>
            </a:r>
            <a:r>
              <a:rPr sz="1143" b="1" i="1" spc="-32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станков;</a:t>
            </a:r>
            <a:r>
              <a:rPr sz="1143" b="1" i="1" spc="-32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spc="-4" dirty="0">
                <a:solidFill>
                  <a:srgbClr val="9D231F"/>
                </a:solidFill>
                <a:latin typeface="Candara"/>
                <a:cs typeface="Candara"/>
              </a:rPr>
              <a:t>мы</a:t>
            </a:r>
            <a:r>
              <a:rPr sz="1143" b="1" i="1" spc="-29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признательны</a:t>
            </a:r>
            <a:r>
              <a:rPr sz="1143" b="1" i="1" spc="-32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ему</a:t>
            </a:r>
            <a:r>
              <a:rPr sz="1143" b="1" i="1" spc="-29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за</a:t>
            </a:r>
            <a:r>
              <a:rPr sz="1143" b="1" i="1" spc="-29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это.</a:t>
            </a:r>
            <a:endParaRPr sz="1143" dirty="0">
              <a:latin typeface="Candara"/>
              <a:cs typeface="Candara"/>
            </a:endParaRPr>
          </a:p>
          <a:p>
            <a:pPr marL="238130">
              <a:spcBef>
                <a:spcPts val="1054"/>
              </a:spcBef>
              <a:tabLst>
                <a:tab pos="2589037" algn="l"/>
              </a:tabLst>
            </a:pPr>
            <a:r>
              <a:rPr sz="1143" i="1" dirty="0">
                <a:solidFill>
                  <a:srgbClr val="9D231F"/>
                </a:solidFill>
                <a:latin typeface="Candara"/>
                <a:cs typeface="Candara"/>
              </a:rPr>
              <a:t>Июнь</a:t>
            </a:r>
            <a:r>
              <a:rPr sz="1143" i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i="1" dirty="0">
                <a:solidFill>
                  <a:srgbClr val="9D231F"/>
                </a:solidFill>
                <a:latin typeface="Candara"/>
                <a:cs typeface="Candara"/>
              </a:rPr>
              <a:t>18,</a:t>
            </a:r>
            <a:r>
              <a:rPr sz="1143" i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i="1" dirty="0">
                <a:solidFill>
                  <a:srgbClr val="9D231F"/>
                </a:solidFill>
                <a:latin typeface="Candara"/>
                <a:cs typeface="Candara"/>
              </a:rPr>
              <a:t>1955	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Джавахарлал</a:t>
            </a:r>
            <a:r>
              <a:rPr sz="1143" b="1" i="1" spc="-1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i="1" dirty="0">
                <a:solidFill>
                  <a:srgbClr val="9D231F"/>
                </a:solidFill>
                <a:latin typeface="Candara"/>
                <a:cs typeface="Candara"/>
              </a:rPr>
              <a:t>Неру</a:t>
            </a:r>
            <a:endParaRPr sz="1143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2825641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7" name="object 3">
            <a:extLst>
              <a:ext uri="{FF2B5EF4-FFF2-40B4-BE49-F238E27FC236}">
                <a16:creationId xmlns:a16="http://schemas.microsoft.com/office/drawing/2014/main" id="{A0B2119C-5145-4122-BFFE-25857D26BB23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2004" y="567686"/>
            <a:ext cx="6519868" cy="4509743"/>
          </a:xfrm>
          <a:prstGeom prst="rect">
            <a:avLst/>
          </a:prstGeom>
        </p:spPr>
      </p:pic>
      <p:sp>
        <p:nvSpPr>
          <p:cNvPr id="10" name="object 4">
            <a:extLst>
              <a:ext uri="{FF2B5EF4-FFF2-40B4-BE49-F238E27FC236}">
                <a16:creationId xmlns:a16="http://schemas.microsoft.com/office/drawing/2014/main" id="{05B14DE5-9988-48FF-8B12-696DF819AFF2}"/>
              </a:ext>
            </a:extLst>
          </p:cNvPr>
          <p:cNvSpPr txBox="1"/>
          <p:nvPr/>
        </p:nvSpPr>
        <p:spPr>
          <a:xfrm>
            <a:off x="6688854" y="574351"/>
            <a:ext cx="2265045" cy="631190"/>
          </a:xfrm>
          <a:prstGeom prst="rect">
            <a:avLst/>
          </a:prstGeom>
        </p:spPr>
        <p:txBody>
          <a:bodyPr vert="horz" wrap="square" lIns="0" tIns="33655" rIns="0" bIns="0" rtlCol="0">
            <a:spAutoFit/>
          </a:bodyPr>
          <a:lstStyle/>
          <a:p>
            <a:pPr marL="139700" marR="132080" indent="323850">
              <a:lnSpc>
                <a:spcPts val="1540"/>
              </a:lnSpc>
              <a:spcBef>
                <a:spcPts val="265"/>
              </a:spcBef>
            </a:pPr>
            <a:r>
              <a:rPr sz="1400" b="1" dirty="0">
                <a:solidFill>
                  <a:srgbClr val="9D231F"/>
                </a:solidFill>
                <a:latin typeface="Candara"/>
                <a:cs typeface="Candara"/>
              </a:rPr>
              <a:t>Visit of the Indian </a:t>
            </a:r>
            <a:r>
              <a:rPr sz="1400" b="1" spc="5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400" b="1" dirty="0">
                <a:solidFill>
                  <a:srgbClr val="9D231F"/>
                </a:solidFill>
                <a:latin typeface="Candara"/>
                <a:cs typeface="Candara"/>
              </a:rPr>
              <a:t>Prime</a:t>
            </a:r>
            <a:r>
              <a:rPr sz="1400" b="1" spc="-25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400" b="1" dirty="0">
                <a:solidFill>
                  <a:srgbClr val="9D231F"/>
                </a:solidFill>
                <a:latin typeface="Candara"/>
                <a:cs typeface="Candara"/>
              </a:rPr>
              <a:t>Minister</a:t>
            </a:r>
            <a:r>
              <a:rPr sz="1400" b="1" spc="-25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400" b="1" spc="-5" dirty="0">
                <a:solidFill>
                  <a:srgbClr val="9D231F"/>
                </a:solidFill>
                <a:latin typeface="Candara"/>
                <a:cs typeface="Candara"/>
              </a:rPr>
              <a:t>Jawaharlal</a:t>
            </a:r>
            <a:endParaRPr sz="1400" dirty="0">
              <a:latin typeface="Candara"/>
              <a:cs typeface="Candara"/>
            </a:endParaRPr>
          </a:p>
          <a:p>
            <a:pPr marL="12700">
              <a:lnSpc>
                <a:spcPts val="1520"/>
              </a:lnSpc>
            </a:pPr>
            <a:r>
              <a:rPr sz="1400" b="1" dirty="0">
                <a:solidFill>
                  <a:srgbClr val="9D231F"/>
                </a:solidFill>
                <a:latin typeface="Candara"/>
                <a:cs typeface="Candara"/>
              </a:rPr>
              <a:t>Nehru</a:t>
            </a:r>
            <a:r>
              <a:rPr sz="1400" b="1" spc="-30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400" b="1" dirty="0">
                <a:solidFill>
                  <a:srgbClr val="9D231F"/>
                </a:solidFill>
                <a:latin typeface="Candara"/>
                <a:cs typeface="Candara"/>
              </a:rPr>
              <a:t>to</a:t>
            </a:r>
            <a:r>
              <a:rPr sz="1400" b="1" spc="-30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400" b="1" dirty="0">
                <a:solidFill>
                  <a:srgbClr val="9D231F"/>
                </a:solidFill>
                <a:latin typeface="Candara"/>
                <a:cs typeface="Candara"/>
              </a:rPr>
              <a:t>Uralmashplant,</a:t>
            </a:r>
            <a:r>
              <a:rPr sz="1400" b="1" spc="-30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400" b="1" dirty="0">
                <a:solidFill>
                  <a:srgbClr val="9D231F"/>
                </a:solidFill>
                <a:latin typeface="Candara"/>
                <a:cs typeface="Candara"/>
              </a:rPr>
              <a:t>1955</a:t>
            </a:r>
            <a:endParaRPr sz="1400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880658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6" name="object 2">
            <a:extLst>
              <a:ext uri="{FF2B5EF4-FFF2-40B4-BE49-F238E27FC236}">
                <a16:creationId xmlns:a16="http://schemas.microsoft.com/office/drawing/2014/main" id="{C32AD252-4498-406C-8FC8-3E462C3146F6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2498" y="565416"/>
            <a:ext cx="6476244" cy="4512014"/>
          </a:xfrm>
          <a:prstGeom prst="rect">
            <a:avLst/>
          </a:prstGeom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9B40AD56-C8D3-4862-8F5C-92A54CDFDD17}"/>
              </a:ext>
            </a:extLst>
          </p:cNvPr>
          <p:cNvSpPr txBox="1"/>
          <p:nvPr/>
        </p:nvSpPr>
        <p:spPr>
          <a:xfrm>
            <a:off x="6591872" y="565416"/>
            <a:ext cx="2469630" cy="347714"/>
          </a:xfrm>
          <a:prstGeom prst="rect">
            <a:avLst/>
          </a:prstGeom>
        </p:spPr>
        <p:txBody>
          <a:bodyPr vert="horz" wrap="square" lIns="0" tIns="9071" rIns="0" bIns="0" rtlCol="0">
            <a:spAutoFit/>
          </a:bodyPr>
          <a:lstStyle/>
          <a:p>
            <a:pPr marL="9072">
              <a:spcBef>
                <a:spcPts val="71"/>
              </a:spcBef>
            </a:pP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Meeting</a:t>
            </a:r>
            <a:r>
              <a:rPr sz="11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of</a:t>
            </a:r>
            <a:r>
              <a:rPr sz="11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Uralmash</a:t>
            </a:r>
            <a:r>
              <a:rPr sz="11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employees</a:t>
            </a:r>
            <a:r>
              <a:rPr sz="11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with</a:t>
            </a:r>
            <a:r>
              <a:rPr sz="11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the</a:t>
            </a:r>
            <a:r>
              <a:rPr sz="11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Indian</a:t>
            </a:r>
            <a:r>
              <a:rPr sz="11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film</a:t>
            </a:r>
            <a:r>
              <a:rPr sz="11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star</a:t>
            </a:r>
            <a:r>
              <a:rPr sz="11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Raj</a:t>
            </a:r>
            <a:r>
              <a:rPr sz="11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spc="-11" dirty="0">
                <a:solidFill>
                  <a:srgbClr val="9D231F"/>
                </a:solidFill>
                <a:latin typeface="Candara"/>
                <a:cs typeface="Candara"/>
              </a:rPr>
              <a:t>Kapoor,</a:t>
            </a:r>
            <a:r>
              <a:rPr sz="11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00" b="1" dirty="0">
                <a:solidFill>
                  <a:srgbClr val="9D231F"/>
                </a:solidFill>
                <a:latin typeface="Candara"/>
                <a:cs typeface="Candara"/>
              </a:rPr>
              <a:t>1960</a:t>
            </a:r>
            <a:endParaRPr sz="1100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9658873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sp>
        <p:nvSpPr>
          <p:cNvPr id="13" name="object 5">
            <a:extLst>
              <a:ext uri="{FF2B5EF4-FFF2-40B4-BE49-F238E27FC236}">
                <a16:creationId xmlns:a16="http://schemas.microsoft.com/office/drawing/2014/main" id="{192A9F81-28DA-4096-B10B-1742521E6DA7}"/>
              </a:ext>
            </a:extLst>
          </p:cNvPr>
          <p:cNvSpPr txBox="1"/>
          <p:nvPr/>
        </p:nvSpPr>
        <p:spPr>
          <a:xfrm>
            <a:off x="6018359" y="565416"/>
            <a:ext cx="1773789" cy="193276"/>
          </a:xfrm>
          <a:prstGeom prst="rect">
            <a:avLst/>
          </a:prstGeom>
        </p:spPr>
        <p:txBody>
          <a:bodyPr vert="horz" wrap="square" lIns="0" tIns="26307" rIns="0" bIns="0" rtlCol="0">
            <a:spAutoFit/>
          </a:bodyPr>
          <a:lstStyle/>
          <a:p>
            <a:pPr marL="87994" marR="3629" indent="-79377">
              <a:lnSpc>
                <a:spcPts val="1257"/>
              </a:lnSpc>
              <a:spcBef>
                <a:spcPts val="207"/>
              </a:spcBef>
            </a:pP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Mining shovel  EKG-4,</a:t>
            </a:r>
            <a:r>
              <a:rPr sz="1143" b="1" spc="-2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1964</a:t>
            </a:r>
            <a:endParaRPr sz="1143" dirty="0">
              <a:latin typeface="Candara"/>
              <a:cs typeface="Candara"/>
            </a:endParaRPr>
          </a:p>
        </p:txBody>
      </p:sp>
      <p:pic>
        <p:nvPicPr>
          <p:cNvPr id="7" name="object 2">
            <a:extLst>
              <a:ext uri="{FF2B5EF4-FFF2-40B4-BE49-F238E27FC236}">
                <a16:creationId xmlns:a16="http://schemas.microsoft.com/office/drawing/2014/main" id="{9A102D48-47B3-4F36-B988-951AA9C65E4F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51704" y="551908"/>
            <a:ext cx="5866656" cy="452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132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11" name="object 3">
            <a:extLst>
              <a:ext uri="{FF2B5EF4-FFF2-40B4-BE49-F238E27FC236}">
                <a16:creationId xmlns:a16="http://schemas.microsoft.com/office/drawing/2014/main" id="{C798CDA0-1A2D-4D23-ACE2-300DEE74457E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62226" y="563541"/>
            <a:ext cx="5623431" cy="4407470"/>
          </a:xfrm>
          <a:prstGeom prst="rect">
            <a:avLst/>
          </a:prstGeom>
        </p:spPr>
      </p:pic>
      <p:sp>
        <p:nvSpPr>
          <p:cNvPr id="13" name="object 5">
            <a:extLst>
              <a:ext uri="{FF2B5EF4-FFF2-40B4-BE49-F238E27FC236}">
                <a16:creationId xmlns:a16="http://schemas.microsoft.com/office/drawing/2014/main" id="{192A9F81-28DA-4096-B10B-1742521E6DA7}"/>
              </a:ext>
            </a:extLst>
          </p:cNvPr>
          <p:cNvSpPr txBox="1"/>
          <p:nvPr/>
        </p:nvSpPr>
        <p:spPr>
          <a:xfrm>
            <a:off x="6018359" y="565416"/>
            <a:ext cx="1773789" cy="193276"/>
          </a:xfrm>
          <a:prstGeom prst="rect">
            <a:avLst/>
          </a:prstGeom>
        </p:spPr>
        <p:txBody>
          <a:bodyPr vert="horz" wrap="square" lIns="0" tIns="26307" rIns="0" bIns="0" rtlCol="0">
            <a:spAutoFit/>
          </a:bodyPr>
          <a:lstStyle/>
          <a:p>
            <a:pPr marL="87994" marR="3629" indent="-79377">
              <a:lnSpc>
                <a:spcPts val="1257"/>
              </a:lnSpc>
              <a:spcBef>
                <a:spcPts val="207"/>
              </a:spcBef>
            </a:pP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Mining shovel  EKG-4,</a:t>
            </a:r>
            <a:r>
              <a:rPr sz="1143" b="1" spc="-21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1964</a:t>
            </a:r>
            <a:endParaRPr sz="1143" dirty="0">
              <a:latin typeface="Candara"/>
              <a:cs typeface="Candara"/>
            </a:endParaRPr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66475CAA-1C50-4B78-9895-D49D7CD8C069}"/>
              </a:ext>
            </a:extLst>
          </p:cNvPr>
          <p:cNvSpPr txBox="1"/>
          <p:nvPr/>
        </p:nvSpPr>
        <p:spPr>
          <a:xfrm>
            <a:off x="6018359" y="2037179"/>
            <a:ext cx="1492250" cy="359989"/>
          </a:xfrm>
          <a:prstGeom prst="rect">
            <a:avLst/>
          </a:prstGeom>
        </p:spPr>
        <p:txBody>
          <a:bodyPr vert="horz" wrap="square" lIns="0" tIns="26307" rIns="0" bIns="0" rtlCol="0">
            <a:spAutoFit/>
          </a:bodyPr>
          <a:lstStyle/>
          <a:p>
            <a:pPr marL="395069" marR="3629" indent="-386451">
              <a:lnSpc>
                <a:spcPts val="1257"/>
              </a:lnSpc>
              <a:spcBef>
                <a:spcPts val="207"/>
              </a:spcBef>
            </a:pP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Карьерный экскаватор  ЭКГ-4,</a:t>
            </a:r>
            <a:r>
              <a:rPr sz="1143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143" b="1" dirty="0">
                <a:solidFill>
                  <a:srgbClr val="9D231F"/>
                </a:solidFill>
                <a:latin typeface="Candara"/>
                <a:cs typeface="Candara"/>
              </a:rPr>
              <a:t>1964</a:t>
            </a:r>
            <a:endParaRPr sz="1143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3382426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18" progId="TCLayout.ActiveDocument.1">
                  <p:embed/>
                </p:oleObj>
              </mc:Choice>
              <mc:Fallback>
                <p:oleObj name="think-cell Slide" r:id="rId4" imgW="353" imgH="318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9"/>
          <p:cNvSpPr txBox="1">
            <a:spLocks noChangeArrowheads="1"/>
          </p:cNvSpPr>
          <p:nvPr/>
        </p:nvSpPr>
        <p:spPr bwMode="auto">
          <a:xfrm>
            <a:off x="0" y="66070"/>
            <a:ext cx="7525127" cy="298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769" tIns="24458" rIns="97833" bIns="31801"/>
          <a:lstStyle>
            <a:defPPr>
              <a:defRPr lang="ru-RU"/>
            </a:defPPr>
            <a:lvl1pPr indent="355600" defTabSz="633062">
              <a:buClr>
                <a:srgbClr val="000000"/>
              </a:buClr>
              <a:defRPr sz="1731" b="0" kern="0">
                <a:solidFill>
                  <a:schemeClr val="bg1"/>
                </a:solidFill>
                <a:latin typeface="Segoe UI Light" panose="020B0502040204020203" pitchFamily="34" charset="0"/>
                <a:ea typeface="PT Root UI Bold" pitchFamily="34" charset="-52"/>
                <a:cs typeface="Segoe UI Light" panose="020B0502040204020203" pitchFamily="34" charset="0"/>
              </a:defRPr>
            </a:lvl1pPr>
          </a:lstStyle>
          <a:p>
            <a:endParaRPr lang="en-US" sz="1800" dirty="0">
              <a:sym typeface="Arial"/>
            </a:endParaRPr>
          </a:p>
        </p:txBody>
      </p:sp>
      <p:pic>
        <p:nvPicPr>
          <p:cNvPr id="7" name="object 5">
            <a:extLst>
              <a:ext uri="{FF2B5EF4-FFF2-40B4-BE49-F238E27FC236}">
                <a16:creationId xmlns:a16="http://schemas.microsoft.com/office/drawing/2014/main" id="{D88C4EF2-CCAD-4947-BD8C-A76971AE703B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6727" y="565416"/>
            <a:ext cx="6054691" cy="4512014"/>
          </a:xfrm>
          <a:prstGeom prst="rect">
            <a:avLst/>
          </a:prstGeom>
        </p:spPr>
      </p:pic>
      <p:sp>
        <p:nvSpPr>
          <p:cNvPr id="9" name="object 3">
            <a:extLst>
              <a:ext uri="{FF2B5EF4-FFF2-40B4-BE49-F238E27FC236}">
                <a16:creationId xmlns:a16="http://schemas.microsoft.com/office/drawing/2014/main" id="{997B45A2-E016-4520-880C-471D693A90ED}"/>
              </a:ext>
            </a:extLst>
          </p:cNvPr>
          <p:cNvSpPr txBox="1"/>
          <p:nvPr/>
        </p:nvSpPr>
        <p:spPr>
          <a:xfrm>
            <a:off x="6335450" y="565416"/>
            <a:ext cx="1555750" cy="447467"/>
          </a:xfrm>
          <a:prstGeom prst="rect">
            <a:avLst/>
          </a:prstGeom>
        </p:spPr>
        <p:txBody>
          <a:bodyPr vert="horz" wrap="square" lIns="0" tIns="24039" rIns="0" bIns="0" rtlCol="0">
            <a:spAutoFit/>
          </a:bodyPr>
          <a:lstStyle/>
          <a:p>
            <a:pPr marL="9072" marR="3629" algn="ctr">
              <a:lnSpc>
                <a:spcPts val="1100"/>
              </a:lnSpc>
              <a:spcBef>
                <a:spcPts val="189"/>
              </a:spcBef>
            </a:pPr>
            <a:r>
              <a:rPr sz="1000" b="1" spc="-4" dirty="0">
                <a:solidFill>
                  <a:srgbClr val="9D231F"/>
                </a:solidFill>
                <a:latin typeface="Candara"/>
                <a:cs typeface="Candara"/>
              </a:rPr>
              <a:t>Erection</a:t>
            </a:r>
            <a:r>
              <a:rPr sz="10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dirty="0">
                <a:solidFill>
                  <a:srgbClr val="9D231F"/>
                </a:solidFill>
                <a:latin typeface="Candara"/>
                <a:cs typeface="Candara"/>
              </a:rPr>
              <a:t>of</a:t>
            </a:r>
            <a:r>
              <a:rPr sz="10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dirty="0">
                <a:solidFill>
                  <a:srgbClr val="9D231F"/>
                </a:solidFill>
                <a:latin typeface="Candara"/>
                <a:cs typeface="Candara"/>
              </a:rPr>
              <a:t>walking</a:t>
            </a:r>
            <a:r>
              <a:rPr sz="10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spc="-4" dirty="0">
                <a:solidFill>
                  <a:srgbClr val="9D231F"/>
                </a:solidFill>
                <a:latin typeface="Candara"/>
                <a:cs typeface="Candara"/>
              </a:rPr>
              <a:t>dragline </a:t>
            </a:r>
            <a:r>
              <a:rPr sz="1000" b="1" spc="-20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dirty="0">
                <a:solidFill>
                  <a:srgbClr val="9D231F"/>
                </a:solidFill>
                <a:latin typeface="Candara"/>
                <a:cs typeface="Candara"/>
              </a:rPr>
              <a:t>ESH-15.90A</a:t>
            </a:r>
            <a:r>
              <a:rPr sz="10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dirty="0">
                <a:solidFill>
                  <a:srgbClr val="9D231F"/>
                </a:solidFill>
                <a:latin typeface="Candara"/>
                <a:cs typeface="Candara"/>
              </a:rPr>
              <a:t>No.</a:t>
            </a:r>
            <a:r>
              <a:rPr sz="10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dirty="0">
                <a:solidFill>
                  <a:srgbClr val="9D231F"/>
                </a:solidFill>
                <a:latin typeface="Candara"/>
                <a:cs typeface="Candara"/>
              </a:rPr>
              <a:t>101</a:t>
            </a:r>
            <a:endParaRPr sz="1000" dirty="0">
              <a:latin typeface="Candara"/>
              <a:cs typeface="Candara"/>
            </a:endParaRPr>
          </a:p>
          <a:p>
            <a:pPr algn="ctr">
              <a:lnSpc>
                <a:spcPts val="1086"/>
              </a:lnSpc>
            </a:pPr>
            <a:r>
              <a:rPr sz="1000" b="1" dirty="0">
                <a:solidFill>
                  <a:srgbClr val="9D231F"/>
                </a:solidFill>
                <a:latin typeface="Candara"/>
                <a:cs typeface="Candara"/>
              </a:rPr>
              <a:t>at</a:t>
            </a:r>
            <a:r>
              <a:rPr sz="1000" b="1" spc="-7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spc="-4" dirty="0">
                <a:solidFill>
                  <a:srgbClr val="9D231F"/>
                </a:solidFill>
                <a:latin typeface="Candara"/>
                <a:cs typeface="Candara"/>
              </a:rPr>
              <a:t>Kathara</a:t>
            </a:r>
            <a:r>
              <a:rPr sz="1000" b="1" spc="-7" dirty="0">
                <a:solidFill>
                  <a:srgbClr val="9D231F"/>
                </a:solidFill>
                <a:latin typeface="Candara"/>
                <a:cs typeface="Candara"/>
              </a:rPr>
              <a:t> Colliery,</a:t>
            </a:r>
            <a:r>
              <a:rPr sz="1000" b="1" spc="-4" dirty="0">
                <a:solidFill>
                  <a:srgbClr val="9D231F"/>
                </a:solidFill>
                <a:latin typeface="Candara"/>
                <a:cs typeface="Candara"/>
              </a:rPr>
              <a:t> </a:t>
            </a:r>
            <a:r>
              <a:rPr sz="1000" b="1" dirty="0">
                <a:solidFill>
                  <a:srgbClr val="9D231F"/>
                </a:solidFill>
                <a:latin typeface="Candara"/>
                <a:cs typeface="Candara"/>
              </a:rPr>
              <a:t>1964</a:t>
            </a:r>
            <a:endParaRPr sz="1000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634205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УЗТМ - КАРТЭКС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32</TotalTime>
  <Words>1334</Words>
  <Application>Microsoft Office PowerPoint</Application>
  <PresentationFormat>On-screen Show (16:9)</PresentationFormat>
  <Paragraphs>378</Paragraphs>
  <Slides>2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rial</vt:lpstr>
      <vt:lpstr>Calibri</vt:lpstr>
      <vt:lpstr>Candara</vt:lpstr>
      <vt:lpstr>PT Root UI Bold</vt:lpstr>
      <vt:lpstr>PT Root UI Light</vt:lpstr>
      <vt:lpstr>Segoe UI Light</vt:lpstr>
      <vt:lpstr>Office Theme</vt:lpstr>
      <vt:lpstr>Точечный рисунок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Место для доп. фотографий оборудования с УЗТМ, собираем с облака по всему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or your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sha petrova</dc:creator>
  <cp:lastModifiedBy>Denis</cp:lastModifiedBy>
  <cp:revision>651</cp:revision>
  <cp:lastPrinted>2021-05-25T09:47:37Z</cp:lastPrinted>
  <dcterms:created xsi:type="dcterms:W3CDTF">2019-10-29T21:38:26Z</dcterms:created>
  <dcterms:modified xsi:type="dcterms:W3CDTF">2022-10-14T07:05:01Z</dcterms:modified>
</cp:coreProperties>
</file>